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p:sldMasterIdLst>
    <p:sldMasterId id="2147483648" r:id="rId1"/>
  </p:sldMasterIdLst>
  <p:notesMasterIdLst>
    <p:notesMasterId r:id="rId7"/>
  </p:notesMasterIdLst>
  <p:handoutMasterIdLst>
    <p:handoutMasterId r:id="rId8"/>
  </p:handoutMasterIdLst>
  <p:sldIdLst>
    <p:sldId id="748" r:id="rId2"/>
    <p:sldId id="863" r:id="rId3"/>
    <p:sldId id="866" r:id="rId4"/>
    <p:sldId id="867" r:id="rId5"/>
    <p:sldId id="875" r:id="rId6"/>
  </p:sldIdLst>
  <p:sldSz cx="12192000" cy="6858000"/>
  <p:notesSz cx="7010400" cy="9296400"/>
  <p:custDataLst>
    <p:tags r:id="rId9"/>
  </p:custDataLst>
  <p:defaultTextStyle>
    <a:defPPr>
      <a:defRPr lang="en-US"/>
    </a:defPPr>
    <a:lvl1pPr algn="l" defTabSz="457200" rtl="0" fontAlgn="base">
      <a:spcBef>
        <a:spcPct val="0"/>
      </a:spcBef>
      <a:spcAft>
        <a:spcPct val="0"/>
      </a:spcAft>
      <a:defRPr kern="1200">
        <a:solidFill>
          <a:schemeClr val="tx1"/>
        </a:solidFill>
        <a:latin typeface="Arial" charset="0"/>
        <a:ea typeface="ＭＳ Ｐゴシック" pitchFamily="34" charset="-128"/>
        <a:cs typeface="+mn-cs"/>
      </a:defRPr>
    </a:lvl1pPr>
    <a:lvl2pPr marL="457200" algn="l" defTabSz="457200" rtl="0" fontAlgn="base">
      <a:spcBef>
        <a:spcPct val="0"/>
      </a:spcBef>
      <a:spcAft>
        <a:spcPct val="0"/>
      </a:spcAft>
      <a:defRPr kern="1200">
        <a:solidFill>
          <a:schemeClr val="tx1"/>
        </a:solidFill>
        <a:latin typeface="Arial" charset="0"/>
        <a:ea typeface="ＭＳ Ｐゴシック" pitchFamily="34" charset="-128"/>
        <a:cs typeface="+mn-cs"/>
      </a:defRPr>
    </a:lvl2pPr>
    <a:lvl3pPr marL="914400" algn="l" defTabSz="457200" rtl="0" fontAlgn="base">
      <a:spcBef>
        <a:spcPct val="0"/>
      </a:spcBef>
      <a:spcAft>
        <a:spcPct val="0"/>
      </a:spcAft>
      <a:defRPr kern="1200">
        <a:solidFill>
          <a:schemeClr val="tx1"/>
        </a:solidFill>
        <a:latin typeface="Arial" charset="0"/>
        <a:ea typeface="ＭＳ Ｐゴシック" pitchFamily="34" charset="-128"/>
        <a:cs typeface="+mn-cs"/>
      </a:defRPr>
    </a:lvl3pPr>
    <a:lvl4pPr marL="1371600" algn="l" defTabSz="457200" rtl="0" fontAlgn="base">
      <a:spcBef>
        <a:spcPct val="0"/>
      </a:spcBef>
      <a:spcAft>
        <a:spcPct val="0"/>
      </a:spcAft>
      <a:defRPr kern="1200">
        <a:solidFill>
          <a:schemeClr val="tx1"/>
        </a:solidFill>
        <a:latin typeface="Arial" charset="0"/>
        <a:ea typeface="ＭＳ Ｐゴシック" pitchFamily="34" charset="-128"/>
        <a:cs typeface="+mn-cs"/>
      </a:defRPr>
    </a:lvl4pPr>
    <a:lvl5pPr marL="1828800" algn="l" defTabSz="457200" rtl="0" fontAlgn="base">
      <a:spcBef>
        <a:spcPct val="0"/>
      </a:spcBef>
      <a:spcAft>
        <a:spcPct val="0"/>
      </a:spcAft>
      <a:defRPr kern="1200">
        <a:solidFill>
          <a:schemeClr val="tx1"/>
        </a:solidFill>
        <a:latin typeface="Arial" charset="0"/>
        <a:ea typeface="ＭＳ Ｐゴシック" pitchFamily="34" charset="-128"/>
        <a:cs typeface="+mn-cs"/>
      </a:defRPr>
    </a:lvl5pPr>
    <a:lvl6pPr marL="2286000" algn="l" defTabSz="914400" rtl="0" eaLnBrk="1" latinLnBrk="0" hangingPunct="1">
      <a:defRPr kern="1200">
        <a:solidFill>
          <a:schemeClr val="tx1"/>
        </a:solidFill>
        <a:latin typeface="Arial" charset="0"/>
        <a:ea typeface="ＭＳ Ｐゴシック" pitchFamily="34" charset="-128"/>
        <a:cs typeface="+mn-cs"/>
      </a:defRPr>
    </a:lvl6pPr>
    <a:lvl7pPr marL="2743200" algn="l" defTabSz="914400" rtl="0" eaLnBrk="1" latinLnBrk="0" hangingPunct="1">
      <a:defRPr kern="1200">
        <a:solidFill>
          <a:schemeClr val="tx1"/>
        </a:solidFill>
        <a:latin typeface="Arial" charset="0"/>
        <a:ea typeface="ＭＳ Ｐゴシック" pitchFamily="34" charset="-128"/>
        <a:cs typeface="+mn-cs"/>
      </a:defRPr>
    </a:lvl7pPr>
    <a:lvl8pPr marL="3200400" algn="l" defTabSz="914400" rtl="0" eaLnBrk="1" latinLnBrk="0" hangingPunct="1">
      <a:defRPr kern="1200">
        <a:solidFill>
          <a:schemeClr val="tx1"/>
        </a:solidFill>
        <a:latin typeface="Arial" charset="0"/>
        <a:ea typeface="ＭＳ Ｐゴシック" pitchFamily="34" charset="-128"/>
        <a:cs typeface="+mn-cs"/>
      </a:defRPr>
    </a:lvl8pPr>
    <a:lvl9pPr marL="3657600" algn="l" defTabSz="914400" rtl="0" eaLnBrk="1" latinLnBrk="0" hangingPunct="1">
      <a:defRPr kern="1200">
        <a:solidFill>
          <a:schemeClr val="tx1"/>
        </a:solidFill>
        <a:latin typeface="Arial" charset="0"/>
        <a:ea typeface="ＭＳ Ｐゴシック" pitchFamily="34" charset="-128"/>
        <a:cs typeface="+mn-cs"/>
      </a:defRPr>
    </a:lvl9pPr>
  </p:defaultTextStyle>
  <p:extLst>
    <p:ext uri="{EFAFB233-063F-42B5-8137-9DF3F51BA10A}">
      <p15:sldGuideLst xmlns:p15="http://schemas.microsoft.com/office/powerpoint/2012/main">
        <p15:guide id="1" orient="horz" pos="2160" userDrawn="1">
          <p15:clr>
            <a:srgbClr val="A4A3A4"/>
          </p15:clr>
        </p15:guide>
        <p15:guide id="2" pos="4267" userDrawn="1">
          <p15:clr>
            <a:srgbClr val="A4A3A4"/>
          </p15:clr>
        </p15:guide>
      </p15:sldGuideLst>
    </p:ext>
    <p:ext uri="{2D200454-40CA-4A62-9FC3-DE9A4176ACB9}">
      <p15:notesGuideLst xmlns:p15="http://schemas.microsoft.com/office/powerpoint/2012/main">
        <p15:guide id="1" orient="horz" pos="2928">
          <p15:clr>
            <a:srgbClr val="A4A3A4"/>
          </p15:clr>
        </p15:guide>
        <p15:guide id="2" pos="2208">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JSR" initials="JSR" lastIdx="1" clrIdx="0"/>
  <p:cmAuthor id="1" name="Jessica Soltz Rudd" initials="JSR" lastIdx="3" clrIdx="1"/>
  <p:cmAuthor id="2" name="Jeff Molinari" initials="JM" lastIdx="2" clrIdx="2"/>
  <p:cmAuthor id="3" name="Ken Cushine" initials="K" lastIdx="2" clrIdx="3"/>
  <p:cmAuthor id="4" name="Jeffrey Molinari" initials="JM" lastIdx="2" clrIdx="4"/>
</p:cmAuthorLst>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2F2F2"/>
    <a:srgbClr val="5B93D7"/>
    <a:srgbClr val="3278CC"/>
    <a:srgbClr val="235591"/>
    <a:srgbClr val="17375E"/>
    <a:srgbClr val="30499B"/>
    <a:srgbClr val="FFFFCC"/>
    <a:srgbClr val="AFAFAF"/>
    <a:srgbClr val="D0D8E8"/>
    <a:srgbClr val="3B8D9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4963" autoAdjust="0"/>
  </p:normalViewPr>
  <p:slideViewPr>
    <p:cSldViewPr snapToObjects="1">
      <p:cViewPr varScale="1">
        <p:scale>
          <a:sx n="92" d="100"/>
          <a:sy n="92" d="100"/>
        </p:scale>
        <p:origin x="594" y="78"/>
      </p:cViewPr>
      <p:guideLst>
        <p:guide orient="horz" pos="2160"/>
        <p:guide pos="4267"/>
      </p:guideLst>
    </p:cSldViewPr>
  </p:slideViewPr>
  <p:outlineViewPr>
    <p:cViewPr>
      <p:scale>
        <a:sx n="33" d="100"/>
        <a:sy n="33" d="100"/>
      </p:scale>
      <p:origin x="0" y="0"/>
    </p:cViewPr>
  </p:outlineViewPr>
  <p:notesTextViewPr>
    <p:cViewPr>
      <p:scale>
        <a:sx n="125" d="100"/>
        <a:sy n="125" d="100"/>
      </p:scale>
      <p:origin x="0" y="0"/>
    </p:cViewPr>
  </p:notesTextViewPr>
  <p:sorterViewPr>
    <p:cViewPr>
      <p:scale>
        <a:sx n="200" d="100"/>
        <a:sy n="200" d="100"/>
      </p:scale>
      <p:origin x="0" y="-7374"/>
    </p:cViewPr>
  </p:sorterViewPr>
  <p:notesViewPr>
    <p:cSldViewPr snapToObjects="1">
      <p:cViewPr>
        <p:scale>
          <a:sx n="90" d="100"/>
          <a:sy n="90" d="100"/>
        </p:scale>
        <p:origin x="2796" y="-180"/>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heme" Target="theme/theme1.xml"/><Relationship Id="rId3" Type="http://schemas.openxmlformats.org/officeDocument/2006/relationships/slide" Target="slides/slide2.xml"/><Relationship Id="rId7" Type="http://schemas.openxmlformats.org/officeDocument/2006/relationships/notesMaster" Target="notesMasters/notesMaster1.xml"/><Relationship Id="rId12" Type="http://schemas.openxmlformats.org/officeDocument/2006/relationships/viewProps" Target="view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presProps" Target="presProps.xml"/><Relationship Id="rId5" Type="http://schemas.openxmlformats.org/officeDocument/2006/relationships/slide" Target="slides/slide4.xml"/><Relationship Id="rId10" Type="http://schemas.openxmlformats.org/officeDocument/2006/relationships/commentAuthors" Target="commentAuthors.xml"/><Relationship Id="rId4" Type="http://schemas.openxmlformats.org/officeDocument/2006/relationships/slide" Target="slides/slide3.xml"/><Relationship Id="rId9" Type="http://schemas.openxmlformats.org/officeDocument/2006/relationships/tags" Target="tags/tag1.xml"/><Relationship Id="rId14"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6EF961C-1DB3-4AB0-878A-23F98A9CB5BD}"/>
              </a:ext>
            </a:extLst>
          </p:cNvPr>
          <p:cNvSpPr>
            <a:spLocks noGrp="1"/>
          </p:cNvSpPr>
          <p:nvPr>
            <p:ph type="hdr" sz="quarter"/>
          </p:nvPr>
        </p:nvSpPr>
        <p:spPr>
          <a:xfrm>
            <a:off x="0" y="0"/>
            <a:ext cx="3038475" cy="466725"/>
          </a:xfrm>
          <a:prstGeom prst="rect">
            <a:avLst/>
          </a:prstGeom>
        </p:spPr>
        <p:txBody>
          <a:bodyPr vert="horz" lIns="91440" tIns="45720" rIns="91440" bIns="45720" rtlCol="0"/>
          <a:lstStyle>
            <a:lvl1pPr algn="l">
              <a:defRPr sz="1200"/>
            </a:lvl1pPr>
          </a:lstStyle>
          <a:p>
            <a:endParaRPr lang="en-US" dirty="0"/>
          </a:p>
        </p:txBody>
      </p:sp>
      <p:sp>
        <p:nvSpPr>
          <p:cNvPr id="3" name="Date Placeholder 2">
            <a:extLst>
              <a:ext uri="{FF2B5EF4-FFF2-40B4-BE49-F238E27FC236}">
                <a16:creationId xmlns:a16="http://schemas.microsoft.com/office/drawing/2014/main" id="{72AE3A93-8A02-4FF9-B0F4-847CD4F56848}"/>
              </a:ext>
            </a:extLst>
          </p:cNvPr>
          <p:cNvSpPr>
            <a:spLocks noGrp="1"/>
          </p:cNvSpPr>
          <p:nvPr>
            <p:ph type="dt" sz="quarter" idx="1"/>
          </p:nvPr>
        </p:nvSpPr>
        <p:spPr>
          <a:xfrm>
            <a:off x="3970338" y="0"/>
            <a:ext cx="3038475" cy="466725"/>
          </a:xfrm>
          <a:prstGeom prst="rect">
            <a:avLst/>
          </a:prstGeom>
        </p:spPr>
        <p:txBody>
          <a:bodyPr vert="horz" lIns="91440" tIns="45720" rIns="91440" bIns="45720" rtlCol="0"/>
          <a:lstStyle>
            <a:lvl1pPr algn="r">
              <a:defRPr sz="1200"/>
            </a:lvl1pPr>
          </a:lstStyle>
          <a:p>
            <a:fld id="{D939E88D-3215-4146-985C-D736AD5ED8EB}" type="datetimeFigureOut">
              <a:rPr lang="en-US" smtClean="0"/>
              <a:t>6/26/2025</a:t>
            </a:fld>
            <a:endParaRPr lang="en-US" dirty="0"/>
          </a:p>
        </p:txBody>
      </p:sp>
      <p:sp>
        <p:nvSpPr>
          <p:cNvPr id="4" name="Footer Placeholder 3">
            <a:extLst>
              <a:ext uri="{FF2B5EF4-FFF2-40B4-BE49-F238E27FC236}">
                <a16:creationId xmlns:a16="http://schemas.microsoft.com/office/drawing/2014/main" id="{2485670A-C755-4BE3-8FB6-4F2BA4D54A27}"/>
              </a:ext>
            </a:extLst>
          </p:cNvPr>
          <p:cNvSpPr>
            <a:spLocks noGrp="1"/>
          </p:cNvSpPr>
          <p:nvPr>
            <p:ph type="ftr" sz="quarter" idx="2"/>
          </p:nvPr>
        </p:nvSpPr>
        <p:spPr>
          <a:xfrm>
            <a:off x="0" y="8829675"/>
            <a:ext cx="3038475" cy="466725"/>
          </a:xfrm>
          <a:prstGeom prst="rect">
            <a:avLst/>
          </a:prstGeom>
        </p:spPr>
        <p:txBody>
          <a:bodyPr vert="horz" lIns="91440" tIns="45720" rIns="91440" bIns="45720" rtlCol="0" anchor="b"/>
          <a:lstStyle>
            <a:lvl1pPr algn="l">
              <a:defRPr sz="1200"/>
            </a:lvl1pPr>
          </a:lstStyle>
          <a:p>
            <a:endParaRPr lang="en-US" dirty="0"/>
          </a:p>
        </p:txBody>
      </p:sp>
    </p:spTree>
    <p:extLst>
      <p:ext uri="{BB962C8B-B14F-4D97-AF65-F5344CB8AC3E}">
        <p14:creationId xmlns:p14="http://schemas.microsoft.com/office/powerpoint/2010/main" val="299556628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8475" cy="465138"/>
          </a:xfrm>
          <a:prstGeom prst="rect">
            <a:avLst/>
          </a:prstGeom>
        </p:spPr>
        <p:txBody>
          <a:bodyPr vert="horz" lIns="93177" tIns="46589" rIns="93177" bIns="46589" rtlCol="0"/>
          <a:lstStyle>
            <a:lvl1pPr algn="l" fontAlgn="auto">
              <a:spcBef>
                <a:spcPts val="0"/>
              </a:spcBef>
              <a:spcAft>
                <a:spcPts val="0"/>
              </a:spcAft>
              <a:defRPr sz="1200" dirty="0">
                <a:latin typeface="+mn-lt"/>
                <a:ea typeface="+mn-ea"/>
                <a:cs typeface="+mn-cs"/>
              </a:defRPr>
            </a:lvl1pPr>
          </a:lstStyle>
          <a:p>
            <a:pPr>
              <a:defRPr/>
            </a:pPr>
            <a:endParaRPr lang="en-US" dirty="0"/>
          </a:p>
        </p:txBody>
      </p:sp>
      <p:sp>
        <p:nvSpPr>
          <p:cNvPr id="3" name="Date Placeholder 2"/>
          <p:cNvSpPr>
            <a:spLocks noGrp="1"/>
          </p:cNvSpPr>
          <p:nvPr>
            <p:ph type="dt" idx="1"/>
          </p:nvPr>
        </p:nvSpPr>
        <p:spPr>
          <a:xfrm>
            <a:off x="3970338" y="0"/>
            <a:ext cx="3038475" cy="465138"/>
          </a:xfrm>
          <a:prstGeom prst="rect">
            <a:avLst/>
          </a:prstGeom>
        </p:spPr>
        <p:txBody>
          <a:bodyPr vert="horz" wrap="square" lIns="93177" tIns="46589" rIns="93177" bIns="46589" numCol="1" anchor="t" anchorCtr="0" compatLnSpc="1">
            <a:prstTxWarp prst="textNoShape">
              <a:avLst/>
            </a:prstTxWarp>
          </a:bodyPr>
          <a:lstStyle>
            <a:lvl1pPr algn="r">
              <a:defRPr sz="1200">
                <a:latin typeface="Calibri" charset="0"/>
                <a:ea typeface="ＭＳ Ｐゴシック" charset="0"/>
                <a:cs typeface="Arial" charset="0"/>
              </a:defRPr>
            </a:lvl1pPr>
          </a:lstStyle>
          <a:p>
            <a:pPr>
              <a:defRPr/>
            </a:pPr>
            <a:fld id="{2A5B0293-13B0-4866-BFF6-D4A402DF879F}" type="datetime1">
              <a:rPr lang="en-US"/>
              <a:pPr>
                <a:defRPr/>
              </a:pPr>
              <a:t>6/26/2025</a:t>
            </a:fld>
            <a:endParaRPr lang="en-US" dirty="0"/>
          </a:p>
        </p:txBody>
      </p:sp>
      <p:sp>
        <p:nvSpPr>
          <p:cNvPr id="4" name="Slide Image Placeholder 3"/>
          <p:cNvSpPr>
            <a:spLocks noGrp="1" noRot="1" noChangeAspect="1"/>
          </p:cNvSpPr>
          <p:nvPr>
            <p:ph type="sldImg" idx="2"/>
          </p:nvPr>
        </p:nvSpPr>
        <p:spPr>
          <a:xfrm>
            <a:off x="406400" y="696913"/>
            <a:ext cx="6197600" cy="3486150"/>
          </a:xfrm>
          <a:prstGeom prst="rect">
            <a:avLst/>
          </a:prstGeom>
          <a:noFill/>
          <a:ln w="12700">
            <a:solidFill>
              <a:prstClr val="black"/>
            </a:solidFill>
          </a:ln>
        </p:spPr>
        <p:txBody>
          <a:bodyPr vert="horz" lIns="93177" tIns="46589" rIns="93177" bIns="46589" rtlCol="0" anchor="ctr"/>
          <a:lstStyle/>
          <a:p>
            <a:pPr lvl="0"/>
            <a:endParaRPr lang="en-US" noProof="0" dirty="0"/>
          </a:p>
        </p:txBody>
      </p:sp>
      <p:sp>
        <p:nvSpPr>
          <p:cNvPr id="5" name="Notes Placeholder 4"/>
          <p:cNvSpPr>
            <a:spLocks noGrp="1"/>
          </p:cNvSpPr>
          <p:nvPr>
            <p:ph type="body" sz="quarter" idx="3"/>
          </p:nvPr>
        </p:nvSpPr>
        <p:spPr>
          <a:xfrm>
            <a:off x="701675" y="4416425"/>
            <a:ext cx="5607050" cy="4183063"/>
          </a:xfrm>
          <a:prstGeom prst="rect">
            <a:avLst/>
          </a:prstGeom>
        </p:spPr>
        <p:txBody>
          <a:bodyPr vert="horz" lIns="93177" tIns="46589" rIns="93177" bIns="46589"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Footer Placeholder 5"/>
          <p:cNvSpPr>
            <a:spLocks noGrp="1"/>
          </p:cNvSpPr>
          <p:nvPr>
            <p:ph type="ftr" sz="quarter" idx="4"/>
          </p:nvPr>
        </p:nvSpPr>
        <p:spPr>
          <a:xfrm>
            <a:off x="0" y="8829675"/>
            <a:ext cx="3038475" cy="465138"/>
          </a:xfrm>
          <a:prstGeom prst="rect">
            <a:avLst/>
          </a:prstGeom>
        </p:spPr>
        <p:txBody>
          <a:bodyPr vert="horz" lIns="93177" tIns="46589" rIns="93177" bIns="46589" rtlCol="0" anchor="b"/>
          <a:lstStyle>
            <a:lvl1pPr algn="l" fontAlgn="auto">
              <a:spcBef>
                <a:spcPts val="0"/>
              </a:spcBef>
              <a:spcAft>
                <a:spcPts val="0"/>
              </a:spcAft>
              <a:defRPr sz="1200" dirty="0">
                <a:latin typeface="+mn-lt"/>
                <a:ea typeface="+mn-ea"/>
                <a:cs typeface="+mn-cs"/>
              </a:defRPr>
            </a:lvl1pPr>
          </a:lstStyle>
          <a:p>
            <a:pPr>
              <a:defRPr/>
            </a:pPr>
            <a:endParaRPr lang="en-US" dirty="0"/>
          </a:p>
        </p:txBody>
      </p:sp>
      <p:sp>
        <p:nvSpPr>
          <p:cNvPr id="7" name="Slide Number Placeholder 6"/>
          <p:cNvSpPr>
            <a:spLocks noGrp="1"/>
          </p:cNvSpPr>
          <p:nvPr>
            <p:ph type="sldNum" sz="quarter" idx="5"/>
          </p:nvPr>
        </p:nvSpPr>
        <p:spPr>
          <a:xfrm>
            <a:off x="3970338" y="8829675"/>
            <a:ext cx="3038475" cy="465138"/>
          </a:xfrm>
          <a:prstGeom prst="rect">
            <a:avLst/>
          </a:prstGeom>
        </p:spPr>
        <p:txBody>
          <a:bodyPr vert="horz" wrap="square" lIns="93177" tIns="46589" rIns="93177" bIns="46589" numCol="1" anchor="b" anchorCtr="0" compatLnSpc="1">
            <a:prstTxWarp prst="textNoShape">
              <a:avLst/>
            </a:prstTxWarp>
          </a:bodyPr>
          <a:lstStyle>
            <a:lvl1pPr algn="r">
              <a:defRPr sz="1200">
                <a:latin typeface="Calibri" charset="0"/>
                <a:ea typeface="ＭＳ Ｐゴシック" charset="0"/>
                <a:cs typeface="Arial" charset="0"/>
              </a:defRPr>
            </a:lvl1pPr>
          </a:lstStyle>
          <a:p>
            <a:pPr>
              <a:defRPr/>
            </a:pPr>
            <a:fld id="{2FA14106-4B54-4136-9A79-9EE1AC54FE3F}" type="slidenum">
              <a:rPr lang="en-US"/>
              <a:pPr>
                <a:defRPr/>
              </a:pPr>
              <a:t>‹#›</a:t>
            </a:fld>
            <a:endParaRPr lang="en-US" dirty="0"/>
          </a:p>
        </p:txBody>
      </p:sp>
    </p:spTree>
    <p:extLst>
      <p:ext uri="{BB962C8B-B14F-4D97-AF65-F5344CB8AC3E}">
        <p14:creationId xmlns:p14="http://schemas.microsoft.com/office/powerpoint/2010/main" val="3026560667"/>
      </p:ext>
    </p:extLst>
  </p:cSld>
  <p:clrMap bg1="lt1" tx1="dk1" bg2="lt2" tx2="dk2" accent1="accent1" accent2="accent2" accent3="accent3" accent4="accent4" accent5="accent5" accent6="accent6" hlink="hlink" folHlink="folHlink"/>
  <p:notesStyle>
    <a:lvl1pPr algn="l" defTabSz="457200" rtl="0" eaLnBrk="0" fontAlgn="base" hangingPunct="0">
      <a:spcBef>
        <a:spcPct val="30000"/>
      </a:spcBef>
      <a:spcAft>
        <a:spcPct val="0"/>
      </a:spcAft>
      <a:defRPr sz="1200" kern="1200">
        <a:solidFill>
          <a:schemeClr val="tx1"/>
        </a:solidFill>
        <a:latin typeface="+mn-lt"/>
        <a:ea typeface="ＭＳ Ｐゴシック" pitchFamily="34" charset="-128"/>
        <a:cs typeface="ＭＳ Ｐゴシック" charset="-128"/>
      </a:defRPr>
    </a:lvl1pPr>
    <a:lvl2pPr marL="457200" algn="l" defTabSz="457200" rtl="0" eaLnBrk="0" fontAlgn="base" hangingPunct="0">
      <a:spcBef>
        <a:spcPct val="30000"/>
      </a:spcBef>
      <a:spcAft>
        <a:spcPct val="0"/>
      </a:spcAft>
      <a:defRPr sz="1200" kern="1200">
        <a:solidFill>
          <a:schemeClr val="tx1"/>
        </a:solidFill>
        <a:latin typeface="+mn-lt"/>
        <a:ea typeface="ＭＳ Ｐゴシック" charset="-128"/>
        <a:cs typeface="+mn-cs"/>
      </a:defRPr>
    </a:lvl2pPr>
    <a:lvl3pPr marL="914400" algn="l" defTabSz="457200" rtl="0" eaLnBrk="0" fontAlgn="base" hangingPunct="0">
      <a:spcBef>
        <a:spcPct val="30000"/>
      </a:spcBef>
      <a:spcAft>
        <a:spcPct val="0"/>
      </a:spcAft>
      <a:defRPr sz="1200" kern="1200">
        <a:solidFill>
          <a:schemeClr val="tx1"/>
        </a:solidFill>
        <a:latin typeface="+mn-lt"/>
        <a:ea typeface="ＭＳ Ｐゴシック" charset="-128"/>
        <a:cs typeface="+mn-cs"/>
      </a:defRPr>
    </a:lvl3pPr>
    <a:lvl4pPr marL="1371600" algn="l" defTabSz="457200" rtl="0" eaLnBrk="0" fontAlgn="base" hangingPunct="0">
      <a:spcBef>
        <a:spcPct val="30000"/>
      </a:spcBef>
      <a:spcAft>
        <a:spcPct val="0"/>
      </a:spcAft>
      <a:defRPr sz="1200" kern="1200">
        <a:solidFill>
          <a:schemeClr val="tx1"/>
        </a:solidFill>
        <a:latin typeface="+mn-lt"/>
        <a:ea typeface="ＭＳ Ｐゴシック" charset="-128"/>
        <a:cs typeface="+mn-cs"/>
      </a:defRPr>
    </a:lvl4pPr>
    <a:lvl5pPr marL="1828800" algn="l" defTabSz="457200" rtl="0" eaLnBrk="0" fontAlgn="base" hangingPunct="0">
      <a:spcBef>
        <a:spcPct val="30000"/>
      </a:spcBef>
      <a:spcAft>
        <a:spcPct val="0"/>
      </a:spcAft>
      <a:defRPr sz="1200" kern="1200">
        <a:solidFill>
          <a:schemeClr val="tx1"/>
        </a:solidFill>
        <a:latin typeface="+mn-lt"/>
        <a:ea typeface="ＭＳ Ｐゴシック" charset="-128"/>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Slide Image Placeholder 1"/>
          <p:cNvSpPr>
            <a:spLocks noGrp="1" noRot="1" noChangeAspect="1" noTextEdit="1"/>
          </p:cNvSpPr>
          <p:nvPr>
            <p:ph type="sldImg"/>
          </p:nvPr>
        </p:nvSpPr>
        <p:spPr bwMode="auto">
          <a:xfrm>
            <a:off x="406400" y="696913"/>
            <a:ext cx="6197600" cy="3486150"/>
          </a:xfrm>
          <a:noFill/>
          <a:ln>
            <a:solidFill>
              <a:srgbClr val="000000"/>
            </a:solidFill>
            <a:miter lim="800000"/>
            <a:headEnd/>
            <a:tailEnd/>
          </a:ln>
        </p:spPr>
      </p:sp>
      <p:sp>
        <p:nvSpPr>
          <p:cNvPr id="30723" name="Notes Placeholder 2"/>
          <p:cNvSpPr>
            <a:spLocks noGrp="1"/>
          </p:cNvSpPr>
          <p:nvPr>
            <p:ph type="body" idx="1"/>
          </p:nvPr>
        </p:nvSpPr>
        <p:spPr bwMode="auto">
          <a:noFill/>
        </p:spPr>
        <p:txBody>
          <a:bodyPr wrap="square" numCol="1" anchor="t" anchorCtr="0" compatLnSpc="1">
            <a:prstTxWarp prst="textNoShape">
              <a:avLst/>
            </a:prstTxWarp>
          </a:bodyPr>
          <a:lstStyle/>
          <a:p>
            <a:endParaRPr lang="en-US" dirty="0"/>
          </a:p>
        </p:txBody>
      </p:sp>
      <p:sp>
        <p:nvSpPr>
          <p:cNvPr id="30724" name="Slide Number Placeholder 3"/>
          <p:cNvSpPr>
            <a:spLocks noGrp="1"/>
          </p:cNvSpPr>
          <p:nvPr>
            <p:ph type="sldNum" sz="quarter" idx="5"/>
          </p:nvPr>
        </p:nvSpPr>
        <p:spPr bwMode="auto">
          <a:noFill/>
          <a:ln>
            <a:miter lim="800000"/>
            <a:headEnd/>
            <a:tailEnd/>
          </a:ln>
        </p:spPr>
        <p:txBody>
          <a:bodyPr/>
          <a:lstStyle/>
          <a:p>
            <a:fld id="{43348F1D-5016-4CF2-8038-85F6D48EE3DD}" type="slidenum">
              <a:rPr lang="en-US" smtClean="0">
                <a:latin typeface="Calibri" pitchFamily="34" charset="0"/>
                <a:ea typeface="ＭＳ Ｐゴシック" pitchFamily="34" charset="-128"/>
              </a:rPr>
              <a:pPr/>
              <a:t>0</a:t>
            </a:fld>
            <a:endParaRPr lang="en-US" dirty="0">
              <a:latin typeface="Calibri" pitchFamily="34" charset="0"/>
              <a:ea typeface="ＭＳ Ｐゴシック" pitchFamily="34" charset="-128"/>
            </a:endParaRPr>
          </a:p>
        </p:txBody>
      </p:sp>
    </p:spTree>
    <p:extLst>
      <p:ext uri="{BB962C8B-B14F-4D97-AF65-F5344CB8AC3E}">
        <p14:creationId xmlns:p14="http://schemas.microsoft.com/office/powerpoint/2010/main" val="137630645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lvl1pPr>
              <a:defRPr/>
            </a:lvl1pPr>
          </a:lstStyle>
          <a:p>
            <a:pPr>
              <a:defRPr/>
            </a:pPr>
            <a:fld id="{D8728DE9-5C5E-4BA1-8A79-665872C67865}" type="datetime1">
              <a:rPr lang="en-US"/>
              <a:pPr>
                <a:defRPr/>
              </a:pPr>
              <a:t>6/26/2025</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a:xfrm>
            <a:off x="9245600" y="6451600"/>
            <a:ext cx="2844800" cy="365125"/>
          </a:xfrm>
          <a:prstGeom prst="rect">
            <a:avLst/>
          </a:prstGeom>
        </p:spPr>
        <p:txBody>
          <a:bodyPr/>
          <a:lstStyle>
            <a:lvl1pPr>
              <a:defRPr/>
            </a:lvl1pPr>
          </a:lstStyle>
          <a:p>
            <a:pPr>
              <a:defRPr/>
            </a:pPr>
            <a:fld id="{AFA2A047-5567-4370-9EE3-442851950DBF}" type="slidenum">
              <a:rPr lang="en-US"/>
              <a:pPr>
                <a:defRPr/>
              </a:pPr>
              <a:t>‹#›</a:t>
            </a:fld>
            <a:endParaRPr lang="en-US"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a:defRPr/>
            </a:pPr>
            <a:fld id="{CF35151D-B6C9-4476-9C5E-240CA607BCD5}" type="datetime1">
              <a:rPr lang="en-US"/>
              <a:pPr>
                <a:defRPr/>
              </a:pPr>
              <a:t>6/26/2025</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a:xfrm>
            <a:off x="9245600" y="6451600"/>
            <a:ext cx="2844800" cy="365125"/>
          </a:xfrm>
          <a:prstGeom prst="rect">
            <a:avLst/>
          </a:prstGeom>
        </p:spPr>
        <p:txBody>
          <a:bodyPr/>
          <a:lstStyle>
            <a:lvl1pPr>
              <a:defRPr/>
            </a:lvl1pPr>
          </a:lstStyle>
          <a:p>
            <a:pPr>
              <a:defRPr/>
            </a:pPr>
            <a:fld id="{655CCE16-5772-495A-A387-D59058C192E1}" type="slidenum">
              <a:rPr lang="en-US"/>
              <a:pPr>
                <a:defRPr/>
              </a:pPr>
              <a:t>‹#›</a:t>
            </a:fld>
            <a:endParaRPr lang="en-US"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39"/>
            <a:ext cx="27432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9600" y="274639"/>
            <a:ext cx="80264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a:defRPr/>
            </a:pPr>
            <a:fld id="{CB48C674-8D24-4F53-A2CF-6223EC49AB99}" type="datetime1">
              <a:rPr lang="en-US"/>
              <a:pPr>
                <a:defRPr/>
              </a:pPr>
              <a:t>6/26/2025</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a:xfrm>
            <a:off x="9245600" y="6451600"/>
            <a:ext cx="2844800" cy="365125"/>
          </a:xfrm>
          <a:prstGeom prst="rect">
            <a:avLst/>
          </a:prstGeom>
        </p:spPr>
        <p:txBody>
          <a:bodyPr/>
          <a:lstStyle>
            <a:lvl1pPr>
              <a:defRPr/>
            </a:lvl1pPr>
          </a:lstStyle>
          <a:p>
            <a:pPr>
              <a:defRPr/>
            </a:pPr>
            <a:fld id="{FFED9E55-7E86-4C23-A3EC-DACBE8576ED9}" type="slidenum">
              <a:rPr lang="en-US"/>
              <a:pPr>
                <a:defRPr/>
              </a:pPr>
              <a:t>‹#›</a:t>
            </a:fld>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609600" y="1295400"/>
            <a:ext cx="10972800" cy="4876800"/>
          </a:xfrm>
        </p:spPr>
        <p:txBody>
          <a:bodyPr/>
          <a:lstStyle>
            <a:lvl1pPr marL="282575" indent="-228600">
              <a:defRPr sz="1600">
                <a:solidFill>
                  <a:srgbClr val="3C3C3D"/>
                </a:solidFill>
                <a:latin typeface="Open Sans Semibold" panose="020B0706030804020204" pitchFamily="34" charset="0"/>
                <a:ea typeface="Open Sans Semibold" panose="020B0706030804020204" pitchFamily="34" charset="0"/>
                <a:cs typeface="Open Sans Semibold" panose="020B0706030804020204" pitchFamily="34" charset="0"/>
              </a:defRPr>
            </a:lvl1pPr>
            <a:lvl2pPr marL="739775" indent="-228600">
              <a:spcBef>
                <a:spcPts val="600"/>
              </a:spcBef>
              <a:defRPr sz="1400">
                <a:solidFill>
                  <a:srgbClr val="3C3C3D"/>
                </a:solidFill>
                <a:latin typeface="Open Sans" panose="020B0606030504020204" pitchFamily="34" charset="0"/>
                <a:ea typeface="Open Sans" panose="020B0606030504020204" pitchFamily="34" charset="0"/>
                <a:cs typeface="Open Sans" panose="020B0606030504020204" pitchFamily="34" charset="0"/>
              </a:defRPr>
            </a:lvl2pPr>
            <a:lvl3pPr marL="1196975" indent="-228600">
              <a:spcBef>
                <a:spcPts val="600"/>
              </a:spcBef>
              <a:defRPr sz="1400">
                <a:solidFill>
                  <a:srgbClr val="3C3C3D"/>
                </a:solidFill>
                <a:latin typeface="Open Sans" panose="020B0606030504020204" pitchFamily="34" charset="0"/>
                <a:ea typeface="Open Sans" panose="020B0606030504020204" pitchFamily="34" charset="0"/>
                <a:cs typeface="Open Sans" panose="020B0606030504020204" pitchFamily="34" charset="0"/>
              </a:defRPr>
            </a:lvl3pPr>
            <a:lvl4pPr marL="1654175" indent="-228600">
              <a:spcBef>
                <a:spcPts val="600"/>
              </a:spcBef>
              <a:defRPr sz="1400">
                <a:solidFill>
                  <a:srgbClr val="3C3C3D"/>
                </a:solidFill>
                <a:latin typeface="Open Sans" panose="020B0606030504020204" pitchFamily="34" charset="0"/>
                <a:ea typeface="Open Sans" panose="020B0606030504020204" pitchFamily="34" charset="0"/>
                <a:cs typeface="Open Sans" panose="020B0606030504020204" pitchFamily="34" charset="0"/>
              </a:defRPr>
            </a:lvl4pPr>
            <a:lvl5pPr marL="2111375" indent="-228600">
              <a:spcBef>
                <a:spcPts val="600"/>
              </a:spcBef>
              <a:buSzPct val="70000"/>
              <a:buFont typeface="Wingdings 3" panose="05040102010807070707" pitchFamily="18" charset="2"/>
              <a:buChar char="u"/>
              <a:defRPr sz="1400">
                <a:solidFill>
                  <a:srgbClr val="3C3C3D"/>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8" name="Straight Connector 7"/>
          <p:cNvCxnSpPr/>
          <p:nvPr userDrawn="1"/>
        </p:nvCxnSpPr>
        <p:spPr>
          <a:xfrm>
            <a:off x="0" y="777240"/>
            <a:ext cx="12192000" cy="0"/>
          </a:xfrm>
          <a:prstGeom prst="line">
            <a:avLst/>
          </a:prstGeom>
          <a:ln w="6350">
            <a:solidFill>
              <a:srgbClr val="B5CAE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userDrawn="1"/>
        </p:nvCxnSpPr>
        <p:spPr>
          <a:xfrm flipH="1">
            <a:off x="0" y="6781800"/>
            <a:ext cx="12192000" cy="0"/>
          </a:xfrm>
          <a:prstGeom prst="line">
            <a:avLst/>
          </a:prstGeom>
          <a:ln w="171450">
            <a:solidFill>
              <a:srgbClr val="003A66"/>
            </a:solidFill>
          </a:ln>
        </p:spPr>
        <p:style>
          <a:lnRef idx="1">
            <a:schemeClr val="accent1"/>
          </a:lnRef>
          <a:fillRef idx="0">
            <a:schemeClr val="accent1"/>
          </a:fillRef>
          <a:effectRef idx="0">
            <a:schemeClr val="accent1"/>
          </a:effectRef>
          <a:fontRef idx="minor">
            <a:schemeClr val="tx1"/>
          </a:fontRef>
        </p:style>
      </p:cxnSp>
      <p:sp>
        <p:nvSpPr>
          <p:cNvPr id="14" name="Text Placeholder 13"/>
          <p:cNvSpPr>
            <a:spLocks noGrp="1"/>
          </p:cNvSpPr>
          <p:nvPr>
            <p:ph type="body" sz="quarter" idx="13" hasCustomPrompt="1"/>
          </p:nvPr>
        </p:nvSpPr>
        <p:spPr>
          <a:xfrm>
            <a:off x="609600" y="320040"/>
            <a:ext cx="10972800" cy="414528"/>
          </a:xfrm>
        </p:spPr>
        <p:txBody>
          <a:bodyPr>
            <a:noAutofit/>
          </a:bodyPr>
          <a:lstStyle>
            <a:lvl1pPr marL="0" indent="0">
              <a:buNone/>
              <a:defRPr sz="2800" cap="all" baseline="0">
                <a:solidFill>
                  <a:srgbClr val="003A66"/>
                </a:solidFill>
                <a:latin typeface="Open Sans Semibold" panose="020B0706030804020204" pitchFamily="34" charset="0"/>
                <a:ea typeface="Open Sans Semibold" panose="020B0706030804020204" pitchFamily="34" charset="0"/>
                <a:cs typeface="Open Sans Semibold" panose="020B0706030804020204" pitchFamily="34" charset="0"/>
              </a:defRPr>
            </a:lvl1pPr>
          </a:lstStyle>
          <a:p>
            <a:pPr lvl="0"/>
            <a:r>
              <a:rPr lang="en-US" dirty="0"/>
              <a:t>&lt;SLIDE TITLE&gt;</a:t>
            </a:r>
          </a:p>
        </p:txBody>
      </p:sp>
      <p:sp>
        <p:nvSpPr>
          <p:cNvPr id="6" name="Slide Number Placeholder 5"/>
          <p:cNvSpPr>
            <a:spLocks noGrp="1"/>
          </p:cNvSpPr>
          <p:nvPr>
            <p:ph type="sldNum" sz="quarter" idx="12"/>
          </p:nvPr>
        </p:nvSpPr>
        <p:spPr>
          <a:xfrm>
            <a:off x="11602720" y="6279976"/>
            <a:ext cx="508000" cy="365125"/>
          </a:xfrm>
          <a:prstGeom prst="rect">
            <a:avLst/>
          </a:prstGeom>
        </p:spPr>
        <p:txBody>
          <a:bodyPr anchor="ctr" anchorCtr="0"/>
          <a:lstStyle>
            <a:lvl1pPr algn="l">
              <a:defRPr sz="930">
                <a:solidFill>
                  <a:srgbClr val="3C3C3D"/>
                </a:solidFill>
                <a:latin typeface="Open Sans" panose="020B0606030504020204" pitchFamily="34" charset="0"/>
                <a:ea typeface="Open Sans" panose="020B0606030504020204" pitchFamily="34" charset="0"/>
                <a:cs typeface="Open Sans" panose="020B0606030504020204" pitchFamily="34" charset="0"/>
              </a:defRPr>
            </a:lvl1pPr>
          </a:lstStyle>
          <a:p>
            <a:fld id="{FC63C319-BDEB-48E7-BDE7-56EEE0429C6E}" type="slidenum">
              <a:rPr lang="en-US" smtClean="0"/>
              <a:pPr/>
              <a:t>‹#›</a:t>
            </a:fld>
            <a:endParaRPr lang="en-US" dirty="0"/>
          </a:p>
        </p:txBody>
      </p:sp>
      <p:pic>
        <p:nvPicPr>
          <p:cNvPr id="7" name="Picture 2" descr="C:\Users\Christopher O. Wienk\Desktop\CW Design Files - WRG PPT Template\Logo No Tag.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696450" y="6364224"/>
            <a:ext cx="1276351" cy="274320"/>
          </a:xfrm>
          <a:prstGeom prst="rect">
            <a:avLst/>
          </a:prstGeom>
          <a:noFill/>
          <a:extLst>
            <a:ext uri="{909E8E84-426E-40DD-AFC4-6F175D3DCCD1}">
              <a14:hiddenFill xmlns:a14="http://schemas.microsoft.com/office/drawing/2010/main">
                <a:solidFill>
                  <a:srgbClr val="FFFFFF"/>
                </a:solidFill>
              </a14:hiddenFill>
            </a:ext>
          </a:extLst>
        </p:spPr>
      </p:pic>
      <p:cxnSp>
        <p:nvCxnSpPr>
          <p:cNvPr id="9" name="Straight Connector 8"/>
          <p:cNvCxnSpPr/>
          <p:nvPr userDrawn="1"/>
        </p:nvCxnSpPr>
        <p:spPr>
          <a:xfrm>
            <a:off x="11074400" y="6409944"/>
            <a:ext cx="0" cy="182880"/>
          </a:xfrm>
          <a:prstGeom prst="line">
            <a:avLst/>
          </a:prstGeom>
          <a:ln w="6350">
            <a:solidFill>
              <a:srgbClr val="B5CAE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2126995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609600" y="1295400"/>
            <a:ext cx="10972800" cy="4876800"/>
          </a:xfrm>
        </p:spPr>
        <p:txBody>
          <a:bodyPr/>
          <a:lstStyle>
            <a:lvl1pPr marL="282575" indent="-228600">
              <a:defRPr sz="1600">
                <a:solidFill>
                  <a:srgbClr val="3C3C3D"/>
                </a:solidFill>
                <a:latin typeface="Open Sans Semibold" panose="020B0706030804020204" pitchFamily="34" charset="0"/>
                <a:ea typeface="Open Sans Semibold" panose="020B0706030804020204" pitchFamily="34" charset="0"/>
                <a:cs typeface="Open Sans Semibold" panose="020B0706030804020204" pitchFamily="34" charset="0"/>
              </a:defRPr>
            </a:lvl1pPr>
            <a:lvl2pPr marL="739775" indent="-228600">
              <a:spcBef>
                <a:spcPts val="600"/>
              </a:spcBef>
              <a:defRPr sz="1400">
                <a:solidFill>
                  <a:srgbClr val="3C3C3D"/>
                </a:solidFill>
                <a:latin typeface="Open Sans" panose="020B0606030504020204" pitchFamily="34" charset="0"/>
                <a:ea typeface="Open Sans" panose="020B0606030504020204" pitchFamily="34" charset="0"/>
                <a:cs typeface="Open Sans" panose="020B0606030504020204" pitchFamily="34" charset="0"/>
              </a:defRPr>
            </a:lvl2pPr>
            <a:lvl3pPr marL="1196975" indent="-228600">
              <a:spcBef>
                <a:spcPts val="600"/>
              </a:spcBef>
              <a:defRPr sz="1400">
                <a:solidFill>
                  <a:srgbClr val="3C3C3D"/>
                </a:solidFill>
                <a:latin typeface="Open Sans" panose="020B0606030504020204" pitchFamily="34" charset="0"/>
                <a:ea typeface="Open Sans" panose="020B0606030504020204" pitchFamily="34" charset="0"/>
                <a:cs typeface="Open Sans" panose="020B0606030504020204" pitchFamily="34" charset="0"/>
              </a:defRPr>
            </a:lvl3pPr>
            <a:lvl4pPr marL="1654175" indent="-228600">
              <a:spcBef>
                <a:spcPts val="600"/>
              </a:spcBef>
              <a:defRPr sz="1400">
                <a:solidFill>
                  <a:srgbClr val="3C3C3D"/>
                </a:solidFill>
                <a:latin typeface="Open Sans" panose="020B0606030504020204" pitchFamily="34" charset="0"/>
                <a:ea typeface="Open Sans" panose="020B0606030504020204" pitchFamily="34" charset="0"/>
                <a:cs typeface="Open Sans" panose="020B0606030504020204" pitchFamily="34" charset="0"/>
              </a:defRPr>
            </a:lvl4pPr>
            <a:lvl5pPr marL="2111375" indent="-228600">
              <a:spcBef>
                <a:spcPts val="600"/>
              </a:spcBef>
              <a:buSzPct val="70000"/>
              <a:buFont typeface="Wingdings 3" panose="05040102010807070707" pitchFamily="18" charset="2"/>
              <a:buChar char="u"/>
              <a:defRPr sz="1400">
                <a:solidFill>
                  <a:srgbClr val="3C3C3D"/>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8" name="Straight Connector 7"/>
          <p:cNvCxnSpPr/>
          <p:nvPr userDrawn="1"/>
        </p:nvCxnSpPr>
        <p:spPr>
          <a:xfrm>
            <a:off x="0" y="777240"/>
            <a:ext cx="12192000" cy="0"/>
          </a:xfrm>
          <a:prstGeom prst="line">
            <a:avLst/>
          </a:prstGeom>
          <a:ln w="6350">
            <a:solidFill>
              <a:srgbClr val="B5CAE6"/>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userDrawn="1"/>
        </p:nvCxnSpPr>
        <p:spPr>
          <a:xfrm flipH="1">
            <a:off x="0" y="6781800"/>
            <a:ext cx="12192000" cy="0"/>
          </a:xfrm>
          <a:prstGeom prst="line">
            <a:avLst/>
          </a:prstGeom>
          <a:ln w="171450">
            <a:solidFill>
              <a:srgbClr val="003A66"/>
            </a:solidFill>
          </a:ln>
        </p:spPr>
        <p:style>
          <a:lnRef idx="1">
            <a:schemeClr val="accent1"/>
          </a:lnRef>
          <a:fillRef idx="0">
            <a:schemeClr val="accent1"/>
          </a:fillRef>
          <a:effectRef idx="0">
            <a:schemeClr val="accent1"/>
          </a:effectRef>
          <a:fontRef idx="minor">
            <a:schemeClr val="tx1"/>
          </a:fontRef>
        </p:style>
      </p:cxnSp>
      <p:sp>
        <p:nvSpPr>
          <p:cNvPr id="14" name="Text Placeholder 13"/>
          <p:cNvSpPr>
            <a:spLocks noGrp="1"/>
          </p:cNvSpPr>
          <p:nvPr>
            <p:ph type="body" sz="quarter" idx="13" hasCustomPrompt="1"/>
          </p:nvPr>
        </p:nvSpPr>
        <p:spPr>
          <a:xfrm>
            <a:off x="609600" y="320040"/>
            <a:ext cx="10972800" cy="414528"/>
          </a:xfrm>
        </p:spPr>
        <p:txBody>
          <a:bodyPr>
            <a:noAutofit/>
          </a:bodyPr>
          <a:lstStyle>
            <a:lvl1pPr marL="0" indent="0">
              <a:buNone/>
              <a:defRPr sz="2800" cap="all" baseline="0">
                <a:solidFill>
                  <a:srgbClr val="003A66"/>
                </a:solidFill>
                <a:latin typeface="Open Sans Semibold" panose="020B0706030804020204" pitchFamily="34" charset="0"/>
                <a:ea typeface="Open Sans Semibold" panose="020B0706030804020204" pitchFamily="34" charset="0"/>
                <a:cs typeface="Open Sans Semibold" panose="020B0706030804020204" pitchFamily="34" charset="0"/>
              </a:defRPr>
            </a:lvl1pPr>
          </a:lstStyle>
          <a:p>
            <a:pPr lvl="0"/>
            <a:r>
              <a:rPr lang="en-US" dirty="0"/>
              <a:t>&lt;SLIDE TITLE&gt;</a:t>
            </a:r>
          </a:p>
        </p:txBody>
      </p:sp>
      <p:sp>
        <p:nvSpPr>
          <p:cNvPr id="6" name="Slide Number Placeholder 5"/>
          <p:cNvSpPr>
            <a:spLocks noGrp="1"/>
          </p:cNvSpPr>
          <p:nvPr>
            <p:ph type="sldNum" sz="quarter" idx="12"/>
          </p:nvPr>
        </p:nvSpPr>
        <p:spPr>
          <a:xfrm>
            <a:off x="11582400" y="6283741"/>
            <a:ext cx="508000" cy="365125"/>
          </a:xfrm>
          <a:prstGeom prst="rect">
            <a:avLst/>
          </a:prstGeom>
        </p:spPr>
        <p:txBody>
          <a:bodyPr anchor="ctr" anchorCtr="0"/>
          <a:lstStyle>
            <a:lvl1pPr algn="l">
              <a:defRPr sz="930">
                <a:solidFill>
                  <a:srgbClr val="3C3C3D"/>
                </a:solidFill>
                <a:latin typeface="Open Sans" panose="020B0606030504020204" pitchFamily="34" charset="0"/>
                <a:ea typeface="Open Sans" panose="020B0606030504020204" pitchFamily="34" charset="0"/>
                <a:cs typeface="Open Sans" panose="020B0606030504020204" pitchFamily="34" charset="0"/>
              </a:defRPr>
            </a:lvl1pPr>
          </a:lstStyle>
          <a:p>
            <a:fld id="{FC63C319-BDEB-48E7-BDE7-56EEE0429C6E}" type="slidenum">
              <a:rPr lang="en-US" smtClean="0"/>
              <a:pPr/>
              <a:t>‹#›</a:t>
            </a:fld>
            <a:endParaRPr lang="en-US" dirty="0"/>
          </a:p>
        </p:txBody>
      </p:sp>
      <p:pic>
        <p:nvPicPr>
          <p:cNvPr id="7" name="Picture 2" descr="C:\Users\Christopher O. Wienk\Desktop\CW Design Files - WRG PPT Template\Logo No Tag.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696450" y="6364224"/>
            <a:ext cx="1276351" cy="274320"/>
          </a:xfrm>
          <a:prstGeom prst="rect">
            <a:avLst/>
          </a:prstGeom>
          <a:noFill/>
          <a:extLst>
            <a:ext uri="{909E8E84-426E-40DD-AFC4-6F175D3DCCD1}">
              <a14:hiddenFill xmlns:a14="http://schemas.microsoft.com/office/drawing/2010/main">
                <a:solidFill>
                  <a:srgbClr val="FFFFFF"/>
                </a:solidFill>
              </a14:hiddenFill>
            </a:ext>
          </a:extLst>
        </p:spPr>
      </p:pic>
      <p:cxnSp>
        <p:nvCxnSpPr>
          <p:cNvPr id="9" name="Straight Connector 8"/>
          <p:cNvCxnSpPr/>
          <p:nvPr userDrawn="1"/>
        </p:nvCxnSpPr>
        <p:spPr>
          <a:xfrm>
            <a:off x="11074400" y="6409944"/>
            <a:ext cx="0" cy="182880"/>
          </a:xfrm>
          <a:prstGeom prst="line">
            <a:avLst/>
          </a:prstGeom>
          <a:ln w="6350">
            <a:solidFill>
              <a:srgbClr val="B5CAE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2126995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cxnSp>
        <p:nvCxnSpPr>
          <p:cNvPr id="5" name="Straight Connector 4"/>
          <p:cNvCxnSpPr>
            <a:cxnSpLocks noChangeShapeType="1"/>
          </p:cNvCxnSpPr>
          <p:nvPr userDrawn="1"/>
        </p:nvCxnSpPr>
        <p:spPr bwMode="auto">
          <a:xfrm>
            <a:off x="609600" y="838200"/>
            <a:ext cx="10972800" cy="0"/>
          </a:xfrm>
          <a:prstGeom prst="line">
            <a:avLst/>
          </a:prstGeom>
          <a:noFill/>
          <a:ln w="63500" cmpd="sng">
            <a:solidFill>
              <a:schemeClr val="accent2">
                <a:lumMod val="50000"/>
              </a:schemeClr>
            </a:solidFill>
            <a:round/>
            <a:headEnd/>
            <a:tailEnd/>
          </a:ln>
          <a:effectLst>
            <a:outerShdw blurRad="63500" dist="20000" dir="5400000" rotWithShape="0">
              <a:srgbClr val="000000">
                <a:alpha val="37999"/>
              </a:srgbClr>
            </a:outerShdw>
          </a:effectLst>
        </p:spPr>
      </p:cxnSp>
      <p:sp>
        <p:nvSpPr>
          <p:cNvPr id="2" name="Title 1"/>
          <p:cNvSpPr>
            <a:spLocks noGrp="1"/>
          </p:cNvSpPr>
          <p:nvPr>
            <p:ph type="title"/>
          </p:nvPr>
        </p:nvSpPr>
        <p:spPr>
          <a:xfrm>
            <a:off x="570156" y="306389"/>
            <a:ext cx="9661585" cy="665162"/>
          </a:xfrm>
          <a:noFill/>
        </p:spPr>
        <p:txBody>
          <a:bodyPr>
            <a:normAutofit/>
          </a:bodyPr>
          <a:lstStyle>
            <a:lvl1pPr>
              <a:defRPr sz="2400" cap="small" baseline="0">
                <a:solidFill>
                  <a:schemeClr val="tx1"/>
                </a:solidFill>
                <a:latin typeface="Arial" pitchFamily="34" charset="0"/>
                <a:cs typeface="Arial" pitchFamily="34" charset="0"/>
              </a:defRPr>
            </a:lvl1pPr>
          </a:lstStyle>
          <a:p>
            <a:r>
              <a:rPr lang="en-US" dirty="0"/>
              <a:t>Click to edit Master title style</a:t>
            </a:r>
          </a:p>
        </p:txBody>
      </p:sp>
      <p:sp>
        <p:nvSpPr>
          <p:cNvPr id="3" name="Content Placeholder 2"/>
          <p:cNvSpPr>
            <a:spLocks noGrp="1"/>
          </p:cNvSpPr>
          <p:nvPr>
            <p:ph idx="1"/>
          </p:nvPr>
        </p:nvSpPr>
        <p:spPr>
          <a:xfrm>
            <a:off x="609600" y="1104901"/>
            <a:ext cx="10972800" cy="5021263"/>
          </a:xfrm>
        </p:spPr>
        <p:txBody>
          <a:bodyPr/>
          <a:lstStyle>
            <a:lvl1pPr>
              <a:buClrTx/>
              <a:buSzPct val="75000"/>
              <a:defRPr>
                <a:latin typeface="Arial" pitchFamily="34" charset="0"/>
                <a:cs typeface="Arial" pitchFamily="34" charset="0"/>
              </a:defRPr>
            </a:lvl1pPr>
            <a:lvl2pPr>
              <a:buClr>
                <a:schemeClr val="tx1"/>
              </a:buClr>
              <a:buSzPct val="80000"/>
              <a:buFont typeface="Arial" pitchFamily="34" charset="0"/>
              <a:buChar char="•"/>
              <a:defRPr>
                <a:latin typeface="Arial" pitchFamily="34" charset="0"/>
                <a:cs typeface="Arial" pitchFamily="34" charset="0"/>
              </a:defRPr>
            </a:lvl2pPr>
            <a:lvl3pPr>
              <a:buClrTx/>
              <a:buSzPct val="75000"/>
              <a:buFont typeface="Courier New" pitchFamily="49" charset="0"/>
              <a:buChar char="o"/>
              <a:defRPr>
                <a:latin typeface="Arial" pitchFamily="34" charset="0"/>
                <a:cs typeface="Arial" pitchFamily="34" charset="0"/>
              </a:defRPr>
            </a:lvl3pPr>
            <a:lvl4pPr>
              <a:buClrTx/>
              <a:buSzPct val="75000"/>
              <a:buFont typeface="Wingdings" pitchFamily="2" charset="2"/>
              <a:buChar char="v"/>
              <a:defRPr>
                <a:latin typeface="Arial" pitchFamily="34" charset="0"/>
                <a:cs typeface="Arial" pitchFamily="34" charset="0"/>
              </a:defRPr>
            </a:lvl4pPr>
            <a:lvl5pPr>
              <a:buClrTx/>
              <a:buSzPct val="75000"/>
              <a:buFont typeface="Wingdings" pitchFamily="2" charset="2"/>
              <a:buChar char="q"/>
              <a:defRPr>
                <a:latin typeface="Arial" pitchFamily="34" charset="0"/>
                <a:cs typeface="Arial"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8" name="Picture 7" descr="Tucson Airport Authority logo">
            <a:extLst>
              <a:ext uri="{FF2B5EF4-FFF2-40B4-BE49-F238E27FC236}">
                <a16:creationId xmlns:a16="http://schemas.microsoft.com/office/drawing/2014/main" id="{17C24B44-BEE8-473E-ACC9-4F51F2D3A584}"/>
              </a:ext>
            </a:extLst>
          </p:cNvPr>
          <p:cNvPicPr/>
          <p:nvPr userDrawn="1"/>
        </p:nvPicPr>
        <p:blipFill rotWithShape="1">
          <a:blip r:embed="rId2">
            <a:extLst>
              <a:ext uri="{28A0092B-C50C-407E-A947-70E740481C1C}">
                <a14:useLocalDpi xmlns:a14="http://schemas.microsoft.com/office/drawing/2010/main" val="0"/>
              </a:ext>
            </a:extLst>
          </a:blip>
          <a:srcRect t="25735" b="28677"/>
          <a:stretch/>
        </p:blipFill>
        <p:spPr bwMode="auto">
          <a:xfrm>
            <a:off x="11201400" y="0"/>
            <a:ext cx="918271" cy="380997"/>
          </a:xfrm>
          <a:prstGeom prst="rect">
            <a:avLst/>
          </a:prstGeom>
          <a:noFill/>
          <a:ln>
            <a:noFill/>
          </a:ln>
          <a:extLst>
            <a:ext uri="{53640926-AAD7-44D8-BBD7-CCE9431645EC}">
              <a14:shadowObscured xmlns:a14="http://schemas.microsoft.com/office/drawing/2010/main"/>
            </a:ext>
          </a:extLst>
        </p:spPr>
      </p:pic>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cxnSp>
        <p:nvCxnSpPr>
          <p:cNvPr id="3" name="Straight Connector 2"/>
          <p:cNvCxnSpPr>
            <a:cxnSpLocks noChangeShapeType="1"/>
          </p:cNvCxnSpPr>
          <p:nvPr userDrawn="1"/>
        </p:nvCxnSpPr>
        <p:spPr bwMode="auto">
          <a:xfrm>
            <a:off x="609600" y="3603625"/>
            <a:ext cx="10972800" cy="0"/>
          </a:xfrm>
          <a:prstGeom prst="line">
            <a:avLst/>
          </a:prstGeom>
          <a:noFill/>
          <a:ln w="76200" cmpd="sng">
            <a:solidFill>
              <a:srgbClr val="0070C0"/>
            </a:solidFill>
            <a:round/>
            <a:headEnd/>
            <a:tailEnd/>
          </a:ln>
          <a:effectLst>
            <a:outerShdw blurRad="63500" dist="20000" dir="5400000" rotWithShape="0">
              <a:srgbClr val="000000">
                <a:alpha val="37999"/>
              </a:srgbClr>
            </a:outerShdw>
          </a:effectLst>
        </p:spPr>
      </p:cxnSp>
      <p:pic>
        <p:nvPicPr>
          <p:cNvPr id="4" name="Picture 7" descr="Frasca Logo PNG (NEW).png"/>
          <p:cNvPicPr>
            <a:picLocks noChangeAspect="1"/>
          </p:cNvPicPr>
          <p:nvPr userDrawn="1"/>
        </p:nvPicPr>
        <p:blipFill>
          <a:blip r:embed="rId2" cstate="screen"/>
          <a:srcRect/>
          <a:stretch>
            <a:fillRect/>
          </a:stretch>
        </p:blipFill>
        <p:spPr bwMode="auto">
          <a:xfrm>
            <a:off x="146051" y="6365876"/>
            <a:ext cx="3242733" cy="365125"/>
          </a:xfrm>
          <a:prstGeom prst="rect">
            <a:avLst/>
          </a:prstGeom>
          <a:noFill/>
          <a:ln w="9525">
            <a:noFill/>
            <a:miter lim="800000"/>
            <a:headEnd/>
            <a:tailEnd/>
          </a:ln>
        </p:spPr>
      </p:pic>
      <p:sp>
        <p:nvSpPr>
          <p:cNvPr id="2" name="Title 1"/>
          <p:cNvSpPr>
            <a:spLocks noGrp="1"/>
          </p:cNvSpPr>
          <p:nvPr>
            <p:ph type="title"/>
          </p:nvPr>
        </p:nvSpPr>
        <p:spPr>
          <a:xfrm>
            <a:off x="963084" y="2978163"/>
            <a:ext cx="10363200" cy="1362075"/>
          </a:xfrm>
          <a:noFill/>
        </p:spPr>
        <p:txBody>
          <a:bodyPr anchor="t"/>
          <a:lstStyle>
            <a:lvl1pPr algn="l">
              <a:defRPr sz="2800" b="1" cap="none">
                <a:solidFill>
                  <a:schemeClr val="tx1"/>
                </a:solidFill>
                <a:latin typeface="Arial" pitchFamily="34" charset="0"/>
                <a:cs typeface="Arial" pitchFamily="34" charset="0"/>
              </a:defRPr>
            </a:lvl1pPr>
          </a:lstStyle>
          <a:p>
            <a:r>
              <a:rPr lang="en-US" dirty="0"/>
              <a:t>Click to edit Master title style</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0" y="1600201"/>
            <a:ext cx="5384800" cy="4525963"/>
          </a:xfrm>
        </p:spPr>
        <p:txBody>
          <a:bodyPr/>
          <a:lstStyle>
            <a:lvl1pPr>
              <a:defRPr sz="2800">
                <a:latin typeface="Arial" panose="020B0604020202020204" pitchFamily="34" charset="0"/>
                <a:cs typeface="Arial" panose="020B0604020202020204" pitchFamily="34" charset="0"/>
              </a:defRPr>
            </a:lvl1pPr>
            <a:lvl2pPr>
              <a:defRPr sz="2400">
                <a:latin typeface="Arial" panose="020B0604020202020204" pitchFamily="34" charset="0"/>
                <a:cs typeface="Arial" panose="020B0604020202020204" pitchFamily="34" charset="0"/>
              </a:defRPr>
            </a:lvl2pPr>
            <a:lvl3pPr>
              <a:defRPr sz="2000">
                <a:latin typeface="Arial" panose="020B0604020202020204" pitchFamily="34" charset="0"/>
                <a:cs typeface="Arial" panose="020B0604020202020204" pitchFamily="34" charset="0"/>
              </a:defRPr>
            </a:lvl3pPr>
            <a:lvl4pPr>
              <a:defRPr sz="1800">
                <a:latin typeface="Arial" panose="020B0604020202020204" pitchFamily="34" charset="0"/>
                <a:cs typeface="Arial" panose="020B0604020202020204" pitchFamily="34" charset="0"/>
              </a:defRPr>
            </a:lvl4pPr>
            <a:lvl5pPr>
              <a:defRPr sz="1800">
                <a:latin typeface="Arial" panose="020B0604020202020204" pitchFamily="34" charset="0"/>
                <a:cs typeface="Arial" panose="020B0604020202020204" pitchFamily="34" charset="0"/>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197600" y="1600201"/>
            <a:ext cx="5384800" cy="4525963"/>
          </a:xfrm>
        </p:spPr>
        <p:txBody>
          <a:bodyPr/>
          <a:lstStyle>
            <a:lvl1pPr>
              <a:defRPr sz="2800">
                <a:latin typeface="Arial" panose="020B0604020202020204" pitchFamily="34" charset="0"/>
                <a:cs typeface="Arial" panose="020B0604020202020204" pitchFamily="34" charset="0"/>
              </a:defRPr>
            </a:lvl1pPr>
            <a:lvl2pPr>
              <a:defRPr sz="2400">
                <a:latin typeface="Arial" panose="020B0604020202020204" pitchFamily="34" charset="0"/>
                <a:cs typeface="Arial" panose="020B0604020202020204" pitchFamily="34" charset="0"/>
              </a:defRPr>
            </a:lvl2pPr>
            <a:lvl3pPr>
              <a:defRPr sz="2000">
                <a:latin typeface="Arial" panose="020B0604020202020204" pitchFamily="34" charset="0"/>
                <a:cs typeface="Arial" panose="020B0604020202020204" pitchFamily="34" charset="0"/>
              </a:defRPr>
            </a:lvl3pPr>
            <a:lvl4pPr>
              <a:defRPr sz="1800">
                <a:latin typeface="Arial" panose="020B0604020202020204" pitchFamily="34" charset="0"/>
                <a:cs typeface="Arial" panose="020B0604020202020204" pitchFamily="34" charset="0"/>
              </a:defRPr>
            </a:lvl4pPr>
            <a:lvl5pPr>
              <a:defRPr sz="1800">
                <a:latin typeface="Arial" panose="020B0604020202020204" pitchFamily="34" charset="0"/>
                <a:cs typeface="Arial" panose="020B0604020202020204" pitchFamily="34" charset="0"/>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3"/>
          <p:cNvSpPr>
            <a:spLocks noGrp="1"/>
          </p:cNvSpPr>
          <p:nvPr>
            <p:ph type="dt" sz="half" idx="10"/>
          </p:nvPr>
        </p:nvSpPr>
        <p:spPr/>
        <p:txBody>
          <a:bodyPr/>
          <a:lstStyle>
            <a:lvl1pPr>
              <a:defRPr/>
            </a:lvl1pPr>
          </a:lstStyle>
          <a:p>
            <a:pPr>
              <a:defRPr/>
            </a:pPr>
            <a:fld id="{EF70B1B6-BB09-4B20-BC17-13BD643765F5}" type="datetime1">
              <a:rPr lang="en-US"/>
              <a:pPr>
                <a:defRPr/>
              </a:pPr>
              <a:t>6/26/2025</a:t>
            </a:fld>
            <a:endParaRPr lang="en-US" dirty="0"/>
          </a:p>
        </p:txBody>
      </p:sp>
      <p:sp>
        <p:nvSpPr>
          <p:cNvPr id="6" name="Footer Placeholder 4"/>
          <p:cNvSpPr>
            <a:spLocks noGrp="1"/>
          </p:cNvSpPr>
          <p:nvPr>
            <p:ph type="ftr" sz="quarter" idx="11"/>
          </p:nvPr>
        </p:nvSpPr>
        <p:spPr/>
        <p:txBody>
          <a:bodyPr/>
          <a:lstStyle>
            <a:lvl1pPr>
              <a:defRPr/>
            </a:lvl1pPr>
          </a:lstStyle>
          <a:p>
            <a:pPr>
              <a:defRPr/>
            </a:pPr>
            <a:endParaRPr lang="en-US" dirty="0"/>
          </a:p>
        </p:txBody>
      </p:sp>
      <p:sp>
        <p:nvSpPr>
          <p:cNvPr id="7" name="Slide Number Placeholder 5"/>
          <p:cNvSpPr>
            <a:spLocks noGrp="1"/>
          </p:cNvSpPr>
          <p:nvPr>
            <p:ph type="sldNum" sz="quarter" idx="12"/>
          </p:nvPr>
        </p:nvSpPr>
        <p:spPr>
          <a:xfrm>
            <a:off x="9245600" y="6451600"/>
            <a:ext cx="2844800" cy="365125"/>
          </a:xfrm>
          <a:prstGeom prst="rect">
            <a:avLst/>
          </a:prstGeom>
        </p:spPr>
        <p:txBody>
          <a:bodyPr/>
          <a:lstStyle>
            <a:lvl1pPr>
              <a:defRPr/>
            </a:lvl1pPr>
          </a:lstStyle>
          <a:p>
            <a:pPr>
              <a:defRPr/>
            </a:pPr>
            <a:fld id="{60EAF69E-E8EF-4270-8BE4-F01D22FCA238}" type="slidenum">
              <a:rPr lang="en-US"/>
              <a:pPr>
                <a:defRPr/>
              </a:pPr>
              <a:t>‹#›</a:t>
            </a:fld>
            <a:endParaRPr lang="en-US" dirty="0"/>
          </a:p>
        </p:txBody>
      </p:sp>
      <p:pic>
        <p:nvPicPr>
          <p:cNvPr id="8" name="Picture 2" descr="Related image">
            <a:extLst>
              <a:ext uri="{FF2B5EF4-FFF2-40B4-BE49-F238E27FC236}">
                <a16:creationId xmlns:a16="http://schemas.microsoft.com/office/drawing/2014/main" id="{FCA15E69-3F98-469D-A429-F4E3130C9A47}"/>
              </a:ext>
            </a:extLst>
          </p:cNvPr>
          <p:cNvPicPr>
            <a:picLocks noChangeAspect="1" noChangeArrowheads="1"/>
          </p:cNvPicPr>
          <p:nvPr userDrawn="1"/>
        </p:nvPicPr>
        <p:blipFill>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374918" y="99919"/>
            <a:ext cx="1766281" cy="631919"/>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3"/>
          <p:cNvSpPr>
            <a:spLocks noGrp="1"/>
          </p:cNvSpPr>
          <p:nvPr>
            <p:ph type="dt" sz="half" idx="10"/>
          </p:nvPr>
        </p:nvSpPr>
        <p:spPr/>
        <p:txBody>
          <a:bodyPr/>
          <a:lstStyle>
            <a:lvl1pPr>
              <a:defRPr/>
            </a:lvl1pPr>
          </a:lstStyle>
          <a:p>
            <a:pPr>
              <a:defRPr/>
            </a:pPr>
            <a:fld id="{0B66DEE7-1086-4B58-AFE3-77554B6E0D51}" type="datetime1">
              <a:rPr lang="en-US"/>
              <a:pPr>
                <a:defRPr/>
              </a:pPr>
              <a:t>6/26/2025</a:t>
            </a:fld>
            <a:endParaRPr lang="en-US" dirty="0"/>
          </a:p>
        </p:txBody>
      </p:sp>
      <p:sp>
        <p:nvSpPr>
          <p:cNvPr id="8" name="Footer Placeholder 4"/>
          <p:cNvSpPr>
            <a:spLocks noGrp="1"/>
          </p:cNvSpPr>
          <p:nvPr>
            <p:ph type="ftr" sz="quarter" idx="11"/>
          </p:nvPr>
        </p:nvSpPr>
        <p:spPr/>
        <p:txBody>
          <a:bodyPr/>
          <a:lstStyle>
            <a:lvl1pPr>
              <a:defRPr/>
            </a:lvl1pPr>
          </a:lstStyle>
          <a:p>
            <a:pPr>
              <a:defRPr/>
            </a:pPr>
            <a:endParaRPr lang="en-US" dirty="0"/>
          </a:p>
        </p:txBody>
      </p:sp>
      <p:sp>
        <p:nvSpPr>
          <p:cNvPr id="9" name="Slide Number Placeholder 5"/>
          <p:cNvSpPr>
            <a:spLocks noGrp="1"/>
          </p:cNvSpPr>
          <p:nvPr>
            <p:ph type="sldNum" sz="quarter" idx="12"/>
          </p:nvPr>
        </p:nvSpPr>
        <p:spPr>
          <a:xfrm>
            <a:off x="9245600" y="6451600"/>
            <a:ext cx="2844800" cy="365125"/>
          </a:xfrm>
          <a:prstGeom prst="rect">
            <a:avLst/>
          </a:prstGeom>
        </p:spPr>
        <p:txBody>
          <a:bodyPr/>
          <a:lstStyle>
            <a:lvl1pPr>
              <a:defRPr/>
            </a:lvl1pPr>
          </a:lstStyle>
          <a:p>
            <a:pPr>
              <a:defRPr/>
            </a:pPr>
            <a:fld id="{600C8185-1829-4159-8865-E40D501C291F}" type="slidenum">
              <a:rPr lang="en-US"/>
              <a:pPr>
                <a:defRPr/>
              </a:pPr>
              <a:t>‹#›</a:t>
            </a:fld>
            <a:endParaRPr 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3"/>
          <p:cNvSpPr>
            <a:spLocks noGrp="1"/>
          </p:cNvSpPr>
          <p:nvPr>
            <p:ph type="dt" sz="half" idx="10"/>
          </p:nvPr>
        </p:nvSpPr>
        <p:spPr/>
        <p:txBody>
          <a:bodyPr/>
          <a:lstStyle>
            <a:lvl1pPr>
              <a:defRPr/>
            </a:lvl1pPr>
          </a:lstStyle>
          <a:p>
            <a:pPr>
              <a:defRPr/>
            </a:pPr>
            <a:fld id="{E5C0A2B1-849E-484B-98FC-0DFCF0B1177B}" type="datetime1">
              <a:rPr lang="en-US"/>
              <a:pPr>
                <a:defRPr/>
              </a:pPr>
              <a:t>6/26/2025</a:t>
            </a:fld>
            <a:endParaRPr lang="en-US" dirty="0"/>
          </a:p>
        </p:txBody>
      </p:sp>
      <p:sp>
        <p:nvSpPr>
          <p:cNvPr id="4" name="Footer Placeholder 4"/>
          <p:cNvSpPr>
            <a:spLocks noGrp="1"/>
          </p:cNvSpPr>
          <p:nvPr>
            <p:ph type="ftr" sz="quarter" idx="11"/>
          </p:nvPr>
        </p:nvSpPr>
        <p:spPr/>
        <p:txBody>
          <a:bodyPr/>
          <a:lstStyle>
            <a:lvl1pPr>
              <a:defRPr/>
            </a:lvl1pPr>
          </a:lstStyle>
          <a:p>
            <a:pPr>
              <a:defRPr/>
            </a:pPr>
            <a:endParaRPr lang="en-US" dirty="0"/>
          </a:p>
        </p:txBody>
      </p:sp>
      <p:sp>
        <p:nvSpPr>
          <p:cNvPr id="5" name="Slide Number Placeholder 5"/>
          <p:cNvSpPr>
            <a:spLocks noGrp="1"/>
          </p:cNvSpPr>
          <p:nvPr>
            <p:ph type="sldNum" sz="quarter" idx="12"/>
          </p:nvPr>
        </p:nvSpPr>
        <p:spPr>
          <a:xfrm>
            <a:off x="9245600" y="6451600"/>
            <a:ext cx="2844800" cy="365125"/>
          </a:xfrm>
          <a:prstGeom prst="rect">
            <a:avLst/>
          </a:prstGeom>
        </p:spPr>
        <p:txBody>
          <a:bodyPr/>
          <a:lstStyle>
            <a:lvl1pPr>
              <a:defRPr/>
            </a:lvl1pPr>
          </a:lstStyle>
          <a:p>
            <a:pPr>
              <a:defRPr/>
            </a:pPr>
            <a:fld id="{F64C6A4B-641B-43C7-9B94-5A5889DB140D}" type="slidenum">
              <a:rPr lang="en-US"/>
              <a:pPr>
                <a:defRPr/>
              </a:pPr>
              <a:t>‹#›</a:t>
            </a:fld>
            <a:endParaRPr lang="en-US" dirty="0"/>
          </a:p>
        </p:txBody>
      </p:sp>
      <p:pic>
        <p:nvPicPr>
          <p:cNvPr id="6" name="Picture 7" descr="Frasca Logo PNG (NEW).png"/>
          <p:cNvPicPr>
            <a:picLocks noChangeAspect="1"/>
          </p:cNvPicPr>
          <p:nvPr userDrawn="1"/>
        </p:nvPicPr>
        <p:blipFill>
          <a:blip r:embed="rId2" cstate="screen"/>
          <a:srcRect/>
          <a:stretch>
            <a:fillRect/>
          </a:stretch>
        </p:blipFill>
        <p:spPr bwMode="auto">
          <a:xfrm>
            <a:off x="146051" y="6365876"/>
            <a:ext cx="3242733" cy="365125"/>
          </a:xfrm>
          <a:prstGeom prst="rect">
            <a:avLst/>
          </a:prstGeom>
          <a:noFill/>
          <a:ln w="9525">
            <a:noFill/>
            <a:miter lim="800000"/>
            <a:headEnd/>
            <a:tailEnd/>
          </a:ln>
        </p:spPr>
      </p:pic>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Footer Placeholder 4"/>
          <p:cNvSpPr>
            <a:spLocks noGrp="1"/>
          </p:cNvSpPr>
          <p:nvPr>
            <p:ph type="ftr" sz="quarter" idx="11"/>
          </p:nvPr>
        </p:nvSpPr>
        <p:spPr/>
        <p:txBody>
          <a:bodyPr/>
          <a:lstStyle>
            <a:lvl1pPr>
              <a:defRPr/>
            </a:lvl1pPr>
          </a:lstStyle>
          <a:p>
            <a:pPr>
              <a:defRPr/>
            </a:pPr>
            <a:r>
              <a:rPr lang="en-US" dirty="0"/>
              <a:t>2</a:t>
            </a:r>
          </a:p>
        </p:txBody>
      </p:sp>
      <p:sp>
        <p:nvSpPr>
          <p:cNvPr id="4" name="Slide Number Placeholder 5"/>
          <p:cNvSpPr>
            <a:spLocks noGrp="1"/>
          </p:cNvSpPr>
          <p:nvPr>
            <p:ph type="sldNum" sz="quarter" idx="12"/>
          </p:nvPr>
        </p:nvSpPr>
        <p:spPr>
          <a:xfrm>
            <a:off x="9245600" y="6451600"/>
            <a:ext cx="2844800" cy="365125"/>
          </a:xfrm>
          <a:prstGeom prst="rect">
            <a:avLst/>
          </a:prstGeom>
        </p:spPr>
        <p:txBody>
          <a:bodyPr/>
          <a:lstStyle>
            <a:lvl1pPr>
              <a:defRPr/>
            </a:lvl1pPr>
          </a:lstStyle>
          <a:p>
            <a:pPr>
              <a:defRPr/>
            </a:pPr>
            <a:fld id="{5BF7857F-FDBC-4E2E-B224-B9B3EAD4C36A}" type="slidenum">
              <a:rPr lang="en-US"/>
              <a:pPr>
                <a:defRPr/>
              </a:pPr>
              <a:t>‹#›</a:t>
            </a:fld>
            <a:endParaRPr lang="en-US" dirty="0"/>
          </a:p>
        </p:txBody>
      </p:sp>
      <p:pic>
        <p:nvPicPr>
          <p:cNvPr id="5" name="Picture 7" descr="Frasca Logo PNG (NEW).png"/>
          <p:cNvPicPr>
            <a:picLocks noChangeAspect="1"/>
          </p:cNvPicPr>
          <p:nvPr userDrawn="1"/>
        </p:nvPicPr>
        <p:blipFill>
          <a:blip r:embed="rId2" cstate="screen"/>
          <a:srcRect/>
          <a:stretch>
            <a:fillRect/>
          </a:stretch>
        </p:blipFill>
        <p:spPr bwMode="auto">
          <a:xfrm>
            <a:off x="146051" y="6365876"/>
            <a:ext cx="3242733" cy="365125"/>
          </a:xfrm>
          <a:prstGeom prst="rect">
            <a:avLst/>
          </a:prstGeom>
          <a:noFill/>
          <a:ln w="9525">
            <a:noFill/>
            <a:miter lim="800000"/>
            <a:headEnd/>
            <a:tailEnd/>
          </a:ln>
        </p:spPr>
      </p:pic>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fld id="{9078D8BC-2666-42B6-B08A-9DDD094FC6C9}" type="datetime1">
              <a:rPr lang="en-US"/>
              <a:pPr>
                <a:defRPr/>
              </a:pPr>
              <a:t>6/26/2025</a:t>
            </a:fld>
            <a:endParaRPr lang="en-US" dirty="0"/>
          </a:p>
        </p:txBody>
      </p:sp>
      <p:sp>
        <p:nvSpPr>
          <p:cNvPr id="6" name="Footer Placeholder 4"/>
          <p:cNvSpPr>
            <a:spLocks noGrp="1"/>
          </p:cNvSpPr>
          <p:nvPr>
            <p:ph type="ftr" sz="quarter" idx="11"/>
          </p:nvPr>
        </p:nvSpPr>
        <p:spPr/>
        <p:txBody>
          <a:bodyPr/>
          <a:lstStyle>
            <a:lvl1pPr>
              <a:defRPr/>
            </a:lvl1pPr>
          </a:lstStyle>
          <a:p>
            <a:pPr>
              <a:defRPr/>
            </a:pPr>
            <a:endParaRPr lang="en-US" dirty="0"/>
          </a:p>
        </p:txBody>
      </p:sp>
      <p:sp>
        <p:nvSpPr>
          <p:cNvPr id="7" name="Slide Number Placeholder 5"/>
          <p:cNvSpPr>
            <a:spLocks noGrp="1"/>
          </p:cNvSpPr>
          <p:nvPr>
            <p:ph type="sldNum" sz="quarter" idx="12"/>
          </p:nvPr>
        </p:nvSpPr>
        <p:spPr>
          <a:xfrm>
            <a:off x="9245600" y="6451600"/>
            <a:ext cx="2844800" cy="365125"/>
          </a:xfrm>
          <a:prstGeom prst="rect">
            <a:avLst/>
          </a:prstGeom>
        </p:spPr>
        <p:txBody>
          <a:bodyPr/>
          <a:lstStyle>
            <a:lvl1pPr>
              <a:defRPr/>
            </a:lvl1pPr>
          </a:lstStyle>
          <a:p>
            <a:pPr>
              <a:defRPr/>
            </a:pPr>
            <a:fld id="{74B2922E-876C-465A-95D5-9767BA4F5F82}" type="slidenum">
              <a:rPr lang="en-US"/>
              <a:pPr>
                <a:defRPr/>
              </a:pPr>
              <a:t>‹#›</a:t>
            </a:fld>
            <a:endParaRPr lang="en-US"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fld id="{5DAECB41-5450-4F62-B7E5-DC1C442CB9DF}" type="datetime1">
              <a:rPr lang="en-US"/>
              <a:pPr>
                <a:defRPr/>
              </a:pPr>
              <a:t>6/26/2025</a:t>
            </a:fld>
            <a:endParaRPr lang="en-US" dirty="0"/>
          </a:p>
        </p:txBody>
      </p:sp>
      <p:sp>
        <p:nvSpPr>
          <p:cNvPr id="6" name="Footer Placeholder 4"/>
          <p:cNvSpPr>
            <a:spLocks noGrp="1"/>
          </p:cNvSpPr>
          <p:nvPr>
            <p:ph type="ftr" sz="quarter" idx="11"/>
          </p:nvPr>
        </p:nvSpPr>
        <p:spPr/>
        <p:txBody>
          <a:bodyPr/>
          <a:lstStyle>
            <a:lvl1pPr>
              <a:defRPr/>
            </a:lvl1pPr>
          </a:lstStyle>
          <a:p>
            <a:pPr>
              <a:defRPr/>
            </a:pPr>
            <a:endParaRPr lang="en-US" dirty="0"/>
          </a:p>
        </p:txBody>
      </p:sp>
      <p:sp>
        <p:nvSpPr>
          <p:cNvPr id="7" name="Slide Number Placeholder 5"/>
          <p:cNvSpPr>
            <a:spLocks noGrp="1"/>
          </p:cNvSpPr>
          <p:nvPr>
            <p:ph type="sldNum" sz="quarter" idx="12"/>
          </p:nvPr>
        </p:nvSpPr>
        <p:spPr>
          <a:xfrm>
            <a:off x="9245600" y="6451600"/>
            <a:ext cx="2844800" cy="365125"/>
          </a:xfrm>
          <a:prstGeom prst="rect">
            <a:avLst/>
          </a:prstGeom>
        </p:spPr>
        <p:txBody>
          <a:bodyPr/>
          <a:lstStyle>
            <a:lvl1pPr>
              <a:defRPr/>
            </a:lvl1pPr>
          </a:lstStyle>
          <a:p>
            <a:pPr>
              <a:defRPr/>
            </a:pPr>
            <a:fld id="{3772E996-F17A-4CDE-831E-7EB7691F09C8}" type="slidenum">
              <a:rPr lang="en-US"/>
              <a:pPr>
                <a:defRPr/>
              </a:pPr>
              <a:t>‹#›</a:t>
            </a:fld>
            <a:endParaRPr 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7774741-A51A-4371-85C0-13EBB36B5815}"/>
              </a:ext>
            </a:extLst>
          </p:cNvPr>
          <p:cNvGraphicFramePr>
            <a:graphicFrameLocks noChangeAspect="1"/>
          </p:cNvGraphicFramePr>
          <p:nvPr userDrawn="1">
            <p:custDataLst>
              <p:tags r:id="rId15"/>
            </p:custDataLst>
            <p:extLst>
              <p:ext uri="{D42A27DB-BD31-4B8C-83A1-F6EECF244321}">
                <p14:modId xmlns:p14="http://schemas.microsoft.com/office/powerpoint/2010/main" val="1993183394"/>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16" imgW="347" imgH="348" progId="TCLayout.ActiveDocument.1">
                  <p:embed/>
                </p:oleObj>
              </mc:Choice>
              <mc:Fallback>
                <p:oleObj name="think-cell Slide" r:id="rId16" imgW="347" imgH="348" progId="TCLayout.ActiveDocument.1">
                  <p:embed/>
                  <p:pic>
                    <p:nvPicPr>
                      <p:cNvPr id="7" name="Object 6" hidden="1">
                        <a:extLst>
                          <a:ext uri="{FF2B5EF4-FFF2-40B4-BE49-F238E27FC236}">
                            <a16:creationId xmlns:a16="http://schemas.microsoft.com/office/drawing/2014/main" id="{B7774741-A51A-4371-85C0-13EBB36B5815}"/>
                          </a:ext>
                        </a:extLst>
                      </p:cNvPr>
                      <p:cNvPicPr/>
                      <p:nvPr/>
                    </p:nvPicPr>
                    <p:blipFill>
                      <a:blip r:embed="rId17"/>
                      <a:stretch>
                        <a:fillRect/>
                      </a:stretch>
                    </p:blipFill>
                    <p:spPr>
                      <a:xfrm>
                        <a:off x="2118" y="1588"/>
                        <a:ext cx="2117" cy="1588"/>
                      </a:xfrm>
                      <a:prstGeom prst="rect">
                        <a:avLst/>
                      </a:prstGeom>
                    </p:spPr>
                  </p:pic>
                </p:oleObj>
              </mc:Fallback>
            </mc:AlternateContent>
          </a:graphicData>
        </a:graphic>
      </p:graphicFrame>
      <p:sp>
        <p:nvSpPr>
          <p:cNvPr id="2" name="Title Placeholder 1"/>
          <p:cNvSpPr>
            <a:spLocks noGrp="1"/>
          </p:cNvSpPr>
          <p:nvPr>
            <p:ph type="title"/>
          </p:nvPr>
        </p:nvSpPr>
        <p:spPr>
          <a:xfrm>
            <a:off x="609600" y="223838"/>
            <a:ext cx="9245600" cy="665162"/>
          </a:xfrm>
          <a:prstGeom prst="rect">
            <a:avLst/>
          </a:prstGeom>
          <a:solidFill>
            <a:schemeClr val="tx2">
              <a:lumMod val="90000"/>
              <a:lumOff val="10000"/>
            </a:schemeClr>
          </a:solidFill>
        </p:spPr>
        <p:txBody>
          <a:bodyPr vert="horz" lIns="91440" tIns="45720" rIns="91440" bIns="45720" rtlCol="0" anchor="ctr">
            <a:normAutofit/>
          </a:bodyPr>
          <a:lstStyle/>
          <a:p>
            <a:r>
              <a:rPr lang="en-US" dirty="0"/>
              <a:t>Click to edit Master title style</a:t>
            </a:r>
          </a:p>
        </p:txBody>
      </p:sp>
      <p:sp>
        <p:nvSpPr>
          <p:cNvPr id="1027" name="Text Placeholder 2"/>
          <p:cNvSpPr>
            <a:spLocks noGrp="1"/>
          </p:cNvSpPr>
          <p:nvPr>
            <p:ph type="body" idx="1"/>
          </p:nvPr>
        </p:nvSpPr>
        <p:spPr bwMode="auto">
          <a:xfrm>
            <a:off x="609600" y="1104901"/>
            <a:ext cx="10972800" cy="50212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09600" y="6356351"/>
            <a:ext cx="2844800" cy="365125"/>
          </a:xfrm>
          <a:prstGeom prst="rect">
            <a:avLst/>
          </a:prstGeom>
        </p:spPr>
        <p:txBody>
          <a:bodyPr vert="horz" wrap="square" lIns="91440" tIns="45720" rIns="91440" bIns="45720" numCol="1" anchor="ctr" anchorCtr="0" compatLnSpc="1">
            <a:prstTxWarp prst="textNoShape">
              <a:avLst/>
            </a:prstTxWarp>
          </a:bodyPr>
          <a:lstStyle>
            <a:lvl1pPr>
              <a:defRPr sz="1200" smtClean="0">
                <a:solidFill>
                  <a:srgbClr val="898989"/>
                </a:solidFill>
                <a:latin typeface="Calibri" charset="0"/>
                <a:ea typeface="ＭＳ Ｐゴシック" charset="0"/>
                <a:cs typeface="Arial" charset="0"/>
              </a:defRPr>
            </a:lvl1pPr>
          </a:lstStyle>
          <a:p>
            <a:pPr>
              <a:defRPr/>
            </a:pPr>
            <a:fld id="{85006804-66F0-4246-A339-3CFD6C4CC0D1}" type="datetime1">
              <a:rPr lang="en-US"/>
              <a:pPr>
                <a:defRPr/>
              </a:pPr>
              <a:t>6/26/2025</a:t>
            </a:fld>
            <a:endParaRPr lang="en-US" dirty="0"/>
          </a:p>
        </p:txBody>
      </p:sp>
      <p:sp>
        <p:nvSpPr>
          <p:cNvPr id="5" name="Footer Placeholder 4"/>
          <p:cNvSpPr>
            <a:spLocks noGrp="1"/>
          </p:cNvSpPr>
          <p:nvPr>
            <p:ph type="ftr" sz="quarter" idx="3"/>
          </p:nvPr>
        </p:nvSpPr>
        <p:spPr>
          <a:xfrm>
            <a:off x="4165600" y="6356351"/>
            <a:ext cx="3860800" cy="365125"/>
          </a:xfrm>
          <a:prstGeom prst="rect">
            <a:avLst/>
          </a:prstGeom>
        </p:spPr>
        <p:txBody>
          <a:bodyPr vert="horz" lIns="91440" tIns="45720" rIns="91440" bIns="45720" rtlCol="0" anchor="ctr"/>
          <a:lstStyle>
            <a:lvl1pPr algn="ctr" fontAlgn="auto">
              <a:spcBef>
                <a:spcPts val="0"/>
              </a:spcBef>
              <a:spcAft>
                <a:spcPts val="0"/>
              </a:spcAft>
              <a:defRPr sz="1200" dirty="0">
                <a:solidFill>
                  <a:schemeClr val="tx1">
                    <a:tint val="75000"/>
                  </a:schemeClr>
                </a:solidFill>
                <a:latin typeface="+mn-lt"/>
                <a:ea typeface="+mn-ea"/>
                <a:cs typeface="+mn-cs"/>
              </a:defRPr>
            </a:lvl1pPr>
          </a:lstStyle>
          <a:p>
            <a:pPr>
              <a:defRPr/>
            </a:pPr>
            <a:endParaRPr lang="en-US" dirty="0"/>
          </a:p>
        </p:txBody>
      </p:sp>
      <p:sp>
        <p:nvSpPr>
          <p:cNvPr id="6" name="Slide Number Placeholder 5"/>
          <p:cNvSpPr>
            <a:spLocks noGrp="1"/>
          </p:cNvSpPr>
          <p:nvPr>
            <p:ph type="sldNum" sz="quarter" idx="4"/>
          </p:nvPr>
        </p:nvSpPr>
        <p:spPr>
          <a:xfrm>
            <a:off x="9245600" y="6451600"/>
            <a:ext cx="28448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898989"/>
                </a:solidFill>
                <a:latin typeface="Calibri" charset="0"/>
                <a:ea typeface="ＭＳ Ｐゴシック" charset="0"/>
                <a:cs typeface="Arial" charset="0"/>
              </a:defRPr>
            </a:lvl1pPr>
          </a:lstStyle>
          <a:p>
            <a:pPr>
              <a:defRPr/>
            </a:pPr>
            <a:fld id="{5E900468-63F5-48CC-A2D1-F370449F3B9A}" type="slidenum">
              <a:rPr lang="en-US"/>
              <a:pPr>
                <a:defRPr/>
              </a:pPr>
              <a:t>‹#›</a:t>
            </a:fld>
            <a:endParaRPr lang="en-US" dirty="0"/>
          </a:p>
        </p:txBody>
      </p:sp>
    </p:spTree>
  </p:cSld>
  <p:clrMap bg1="lt1" tx1="dk1" bg2="lt2" tx2="dk2" accent1="accent1" accent2="accent2" accent3="accent3" accent4="accent4" accent5="accent5" accent6="accent6" hlink="hlink" folHlink="folHlink"/>
  <p:sldLayoutIdLst>
    <p:sldLayoutId id="2147483662" r:id="rId1"/>
    <p:sldLayoutId id="2147483671" r:id="rId2"/>
    <p:sldLayoutId id="2147483672" r:id="rId3"/>
    <p:sldLayoutId id="2147483663" r:id="rId4"/>
    <p:sldLayoutId id="2147483664" r:id="rId5"/>
    <p:sldLayoutId id="2147483665" r:id="rId6"/>
    <p:sldLayoutId id="2147483666" r:id="rId7"/>
    <p:sldLayoutId id="2147483667" r:id="rId8"/>
    <p:sldLayoutId id="2147483668" r:id="rId9"/>
    <p:sldLayoutId id="2147483669" r:id="rId10"/>
    <p:sldLayoutId id="2147483670" r:id="rId11"/>
    <p:sldLayoutId id="2147483673" r:id="rId12"/>
    <p:sldLayoutId id="2147483674" r:id="rId13"/>
  </p:sldLayoutIdLst>
  <p:hf hdr="0" ftr="0" dt="0"/>
  <p:txStyles>
    <p:titleStyle>
      <a:lvl1pPr algn="l" defTabSz="457200" rtl="0" eaLnBrk="0" fontAlgn="base" hangingPunct="0">
        <a:spcBef>
          <a:spcPct val="0"/>
        </a:spcBef>
        <a:spcAft>
          <a:spcPct val="0"/>
        </a:spcAft>
        <a:defRPr sz="2800" b="1" kern="1200">
          <a:solidFill>
            <a:schemeClr val="bg1"/>
          </a:solidFill>
          <a:latin typeface="+mj-lt"/>
          <a:ea typeface="ＭＳ Ｐゴシック" pitchFamily="34" charset="-128"/>
          <a:cs typeface="ＭＳ Ｐゴシック" charset="-128"/>
        </a:defRPr>
      </a:lvl1pPr>
      <a:lvl2pPr algn="l" defTabSz="457200" rtl="0" eaLnBrk="0" fontAlgn="base" hangingPunct="0">
        <a:spcBef>
          <a:spcPct val="0"/>
        </a:spcBef>
        <a:spcAft>
          <a:spcPct val="0"/>
        </a:spcAft>
        <a:defRPr sz="2800" b="1">
          <a:solidFill>
            <a:schemeClr val="bg1"/>
          </a:solidFill>
          <a:latin typeface="Calibri" pitchFamily="34" charset="0"/>
          <a:ea typeface="ＭＳ Ｐゴシック" pitchFamily="34" charset="-128"/>
          <a:cs typeface="ＭＳ Ｐゴシック" charset="-128"/>
        </a:defRPr>
      </a:lvl2pPr>
      <a:lvl3pPr algn="l" defTabSz="457200" rtl="0" eaLnBrk="0" fontAlgn="base" hangingPunct="0">
        <a:spcBef>
          <a:spcPct val="0"/>
        </a:spcBef>
        <a:spcAft>
          <a:spcPct val="0"/>
        </a:spcAft>
        <a:defRPr sz="2800" b="1">
          <a:solidFill>
            <a:schemeClr val="bg1"/>
          </a:solidFill>
          <a:latin typeface="Calibri" pitchFamily="34" charset="0"/>
          <a:ea typeface="ＭＳ Ｐゴシック" pitchFamily="34" charset="-128"/>
          <a:cs typeface="ＭＳ Ｐゴシック" charset="-128"/>
        </a:defRPr>
      </a:lvl3pPr>
      <a:lvl4pPr algn="l" defTabSz="457200" rtl="0" eaLnBrk="0" fontAlgn="base" hangingPunct="0">
        <a:spcBef>
          <a:spcPct val="0"/>
        </a:spcBef>
        <a:spcAft>
          <a:spcPct val="0"/>
        </a:spcAft>
        <a:defRPr sz="2800" b="1">
          <a:solidFill>
            <a:schemeClr val="bg1"/>
          </a:solidFill>
          <a:latin typeface="Calibri" pitchFamily="34" charset="0"/>
          <a:ea typeface="ＭＳ Ｐゴシック" pitchFamily="34" charset="-128"/>
          <a:cs typeface="ＭＳ Ｐゴシック" charset="-128"/>
        </a:defRPr>
      </a:lvl4pPr>
      <a:lvl5pPr algn="l" defTabSz="457200" rtl="0" eaLnBrk="0" fontAlgn="base" hangingPunct="0">
        <a:spcBef>
          <a:spcPct val="0"/>
        </a:spcBef>
        <a:spcAft>
          <a:spcPct val="0"/>
        </a:spcAft>
        <a:defRPr sz="2800" b="1">
          <a:solidFill>
            <a:schemeClr val="bg1"/>
          </a:solidFill>
          <a:latin typeface="Calibri" pitchFamily="34" charset="0"/>
          <a:ea typeface="ＭＳ Ｐゴシック" pitchFamily="34" charset="-128"/>
          <a:cs typeface="ＭＳ Ｐゴシック" charset="-128"/>
        </a:defRPr>
      </a:lvl5pPr>
      <a:lvl6pPr marL="457200" algn="l" defTabSz="457200" rtl="0" fontAlgn="base">
        <a:spcBef>
          <a:spcPct val="0"/>
        </a:spcBef>
        <a:spcAft>
          <a:spcPct val="0"/>
        </a:spcAft>
        <a:defRPr sz="2800" b="1">
          <a:solidFill>
            <a:schemeClr val="bg1"/>
          </a:solidFill>
          <a:latin typeface="Calibri" pitchFamily="34" charset="0"/>
        </a:defRPr>
      </a:lvl6pPr>
      <a:lvl7pPr marL="914400" algn="l" defTabSz="457200" rtl="0" fontAlgn="base">
        <a:spcBef>
          <a:spcPct val="0"/>
        </a:spcBef>
        <a:spcAft>
          <a:spcPct val="0"/>
        </a:spcAft>
        <a:defRPr sz="2800" b="1">
          <a:solidFill>
            <a:schemeClr val="bg1"/>
          </a:solidFill>
          <a:latin typeface="Calibri" pitchFamily="34" charset="0"/>
        </a:defRPr>
      </a:lvl7pPr>
      <a:lvl8pPr marL="1371600" algn="l" defTabSz="457200" rtl="0" fontAlgn="base">
        <a:spcBef>
          <a:spcPct val="0"/>
        </a:spcBef>
        <a:spcAft>
          <a:spcPct val="0"/>
        </a:spcAft>
        <a:defRPr sz="2800" b="1">
          <a:solidFill>
            <a:schemeClr val="bg1"/>
          </a:solidFill>
          <a:latin typeface="Calibri" pitchFamily="34" charset="0"/>
        </a:defRPr>
      </a:lvl8pPr>
      <a:lvl9pPr marL="1828800" algn="l" defTabSz="457200" rtl="0" fontAlgn="base">
        <a:spcBef>
          <a:spcPct val="0"/>
        </a:spcBef>
        <a:spcAft>
          <a:spcPct val="0"/>
        </a:spcAft>
        <a:defRPr sz="2800" b="1">
          <a:solidFill>
            <a:schemeClr val="bg1"/>
          </a:solidFill>
          <a:latin typeface="Calibri" pitchFamily="34" charset="0"/>
        </a:defRPr>
      </a:lvl9pPr>
    </p:titleStyle>
    <p:bodyStyle>
      <a:lvl1pPr marL="342900" indent="-342900" algn="l" defTabSz="457200" rtl="0" eaLnBrk="0" fontAlgn="base" hangingPunct="0">
        <a:spcBef>
          <a:spcPct val="20000"/>
        </a:spcBef>
        <a:spcAft>
          <a:spcPct val="0"/>
        </a:spcAft>
        <a:buClr>
          <a:schemeClr val="tx1"/>
        </a:buClr>
        <a:buSzPct val="80000"/>
        <a:buFont typeface="Wingdings" pitchFamily="2" charset="2"/>
        <a:buChar char="§"/>
        <a:defRPr sz="2400" kern="1200">
          <a:solidFill>
            <a:schemeClr val="tx1"/>
          </a:solidFill>
          <a:latin typeface="+mn-lt"/>
          <a:ea typeface="ＭＳ Ｐゴシック" pitchFamily="34" charset="-128"/>
          <a:cs typeface="ＭＳ Ｐゴシック" charset="-128"/>
        </a:defRPr>
      </a:lvl1pPr>
      <a:lvl2pPr marL="742950" indent="-285750" algn="l" defTabSz="457200" rtl="0" eaLnBrk="0" fontAlgn="base" hangingPunct="0">
        <a:spcBef>
          <a:spcPct val="20000"/>
        </a:spcBef>
        <a:spcAft>
          <a:spcPct val="0"/>
        </a:spcAft>
        <a:buClr>
          <a:schemeClr val="tx1"/>
        </a:buClr>
        <a:buSzPct val="80000"/>
        <a:buFont typeface="Arial" charset="0"/>
        <a:buChar char="•"/>
        <a:defRPr sz="2000" kern="1200">
          <a:solidFill>
            <a:schemeClr val="tx1"/>
          </a:solidFill>
          <a:latin typeface="+mn-lt"/>
          <a:ea typeface="ＭＳ Ｐゴシック" charset="-128"/>
          <a:cs typeface="+mn-cs"/>
        </a:defRPr>
      </a:lvl2pPr>
      <a:lvl3pPr marL="1143000" indent="-228600" algn="l" defTabSz="457200" rtl="0" eaLnBrk="0" fontAlgn="base" hangingPunct="0">
        <a:spcBef>
          <a:spcPct val="20000"/>
        </a:spcBef>
        <a:spcAft>
          <a:spcPct val="0"/>
        </a:spcAft>
        <a:buClr>
          <a:schemeClr val="tx1"/>
        </a:buClr>
        <a:buSzPct val="80000"/>
        <a:buFont typeface="Courier New" pitchFamily="49" charset="0"/>
        <a:buChar char="o"/>
        <a:defRPr kern="1200">
          <a:solidFill>
            <a:schemeClr val="tx1"/>
          </a:solidFill>
          <a:latin typeface="+mn-lt"/>
          <a:ea typeface="ＭＳ Ｐゴシック" charset="-128"/>
          <a:cs typeface="+mn-cs"/>
        </a:defRPr>
      </a:lvl3pPr>
      <a:lvl4pPr marL="1600200" indent="-228600" algn="l" defTabSz="457200" rtl="0" eaLnBrk="0" fontAlgn="base" hangingPunct="0">
        <a:spcBef>
          <a:spcPct val="20000"/>
        </a:spcBef>
        <a:spcAft>
          <a:spcPct val="0"/>
        </a:spcAft>
        <a:buClr>
          <a:schemeClr val="tx1"/>
        </a:buClr>
        <a:buSzPct val="80000"/>
        <a:buFont typeface="Wingdings" pitchFamily="2" charset="2"/>
        <a:buChar char="v"/>
        <a:defRPr sz="1600" kern="1200">
          <a:solidFill>
            <a:schemeClr val="tx1"/>
          </a:solidFill>
          <a:latin typeface="+mn-lt"/>
          <a:ea typeface="ＭＳ Ｐゴシック" charset="-128"/>
          <a:cs typeface="+mn-cs"/>
        </a:defRPr>
      </a:lvl4pPr>
      <a:lvl5pPr marL="2057400" indent="-228600" algn="l" defTabSz="457200" rtl="0" eaLnBrk="0" fontAlgn="base" hangingPunct="0">
        <a:spcBef>
          <a:spcPct val="20000"/>
        </a:spcBef>
        <a:spcAft>
          <a:spcPct val="0"/>
        </a:spcAft>
        <a:buClr>
          <a:schemeClr val="tx1"/>
        </a:buClr>
        <a:buSzPct val="80000"/>
        <a:buFont typeface="Wingdings" pitchFamily="2" charset="2"/>
        <a:buChar char="q"/>
        <a:defRPr sz="1600" kern="1200">
          <a:solidFill>
            <a:schemeClr val="tx1"/>
          </a:solidFill>
          <a:latin typeface="+mn-lt"/>
          <a:ea typeface="ＭＳ Ｐゴシック"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1.xml"/><Relationship Id="rId1" Type="http://schemas.openxmlformats.org/officeDocument/2006/relationships/slideLayout" Target="../slideLayouts/slideLayout1.xml"/><Relationship Id="rId5" Type="http://schemas.openxmlformats.org/officeDocument/2006/relationships/image" Target="../media/image7.png"/><Relationship Id="rId4" Type="http://schemas.openxmlformats.org/officeDocument/2006/relationships/image" Target="../media/image6.jp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AutoShape 2" descr="data:image/jpeg;base64,/9j/4AAQSkZJRgABAQAAAQABAAD/2wCEAAkGBxQSEhUUEhQWFhUXGRgXFxgYGBgaGxwbHBoeHBgZGxodHCgkGxwlHhcYITEhJikrLi4uGCAzODMsNygtLiwBCgoKDg0OGhAQGywkHyQsLCw0NCwsLCw0NCwsLCwsLCwsLCwsLCwsLCwsLCwsLCwsLCwsLCwsLCwsLCwsLCwsLP/AABEIAL0BCgMBIgACEQEDEQH/xAAbAAADAQEBAQEAAAAAAAAAAAADBAUCAQYAB//EAEMQAAECBAMGAwYDBwMDBAMAAAECEQADITEEEkEFUWFxgZEiobETMlLB0fBCYuEGFBUjgpLxU3KyM6LSQ2OjwhYkc//EABgBAQEBAQEAAAAAAAAAAAAAAAECAAME/8QAJBEAAgICAgIBBQEAAAAAAAAAAAECERIhMUEDURMiMmFxoUL/2gAMAwEAAhEDEQA/AKOH2XhygkTgCGFcoFedfKEV7PqwWGsCFU3X6RDCjQWOpfpqaQ/J2goCyQxuRU0rXtX6x7MZruzlcX0OSMOkEkqFOfoRFCZiZdQlaSbVl6X3CvSPOz8fmPiLF9Es3aOhYUPCTSv+HMLg3tkqXSPRYNay4Qyi5DDTVx97o+ny1OQpIc38Vt7VN39YgJJop2uwJGm9/nDIxSkgAk10Jo33wicGnobvkPiJqknxADne1A8AVNdmcX11hqVlW5Vlrzfm4r3ePpmzVVqkFqMofr9vFKaWmS4t8CwJTWvP6Pb9I2nFEPbmd/DyhgbKmMDqSbE9fvnBf4ZM3ZgdxB3UjPyRNhInAFViSHepoO8aGa4Ku9ebPDsnZub3mSG1emm694Ym7IQBRb03Za630anHyjfLE2DJqcWo+9VqfflDsjay/dc5dQ79nhdCUhTLJytcBKm3uDUgB+wjMra2UVQkjjfo3IQyprSBWuz0uHxSDUSSTqpmNeR3QZO2paSQUqAq99Da/nHm5X7QFCvdQOCgabtXgs39o5aw0xANw4PoGpb7aPM4S9M7Ka9npxtMFJMozDxBBbWrnhrCU3aa1D3if9yQNdDElOJwy/EFLR/U9ezR9MBUHEwLTVqsePPnEpRT3/RdvgpL/aBYokAaO2tqcID/APkeIr4z1Tu3NSJPsUqvmB5P6V/xHZkhLAJUXfcWHEmOqXj9EPMdw22phU0xWVJUSVAGj8i9xyqYobd2yZIl+zqlQf2lwe1H1jzuJwASglS/GFZcorRnCs1m0haXPZDIWoVqlyxdwab46RjB7Rzk5DisYiYrNMSFP7zPm5hyQTaHR+zmHmD+TPYn8Kw/TQ+seWJykhteUaTPPxKfT7pHbFr7WQ6fKK2P/ZPESw6QmaPyEuOhY9niACoGzGxBH1i3h9v4iWCErKgdbkdFRiftJU0utSStm8QCS2lwPWKU5d7DFMnlCmcgjfGVr59Y3MxExKgCWegdux4QWZLUXdSH3EMfKNnXI4ITWq1W6xpOJXorueMfLlZSApg+4vAlSdzdIckycWjqpigfFA/bN/h42ZSm0++kLmt4U0ZpoMZj7vSOiefj84XU/wDmO9IbDZpEwnX74QeQpzlD1NtfMGvK8PzsPhlJ/kzxe03wnuBx3RnB5sMUzfACl2rmBcEUyipqaXjzuX4O6NSsK6WDb6kHhbU8hB5mzpYAzEOz0JB5Nw48eEAVtiU7pQ8xVaE5SSXswOrM8NyNosRnZCXfKtKiOQBd+ojk3NFpRAjBSgQMyhZwWD7mLfKDLwqUsyTwJeo51BiuJ0lXuzEF71yjsA1uEa/dkKZggtQBOU8dQBx3xGb7GkQ5qQVAe6CbDTvxEcmYYpZyQk3PDX6xe/gCZh8RUk1Zxdxoz6tSJWK2JkV/1Acv4SFDpSKjNcWDiwMyaEKIJzbi5PDcD8u8WZG3paNcqqUfMPOxtEE4bK5WzHQVIHCtOsKTJgemvFzxBa0bCM+TZOJ7SZt2UqvhGbelmo9zRn9BCWIxsnecpccOP+Y8ogmwNC+5+GtzzjDqGig1DT1gXgS4Zn5WXJuIkmz0JYk+jPWu/dCc2YgPY68TQdQYlTC299a+XLpGQgsCASac/J93lHVQrshyHVrQXJo/DypaOCdKLUVxLv1IYRPJO7u4joHDXSLxJsqLMoJcTK6gAuPKEpmII90q4GojMskUy1vr9YIqSo2YPo9YEkuRqwY2iu+ZV9SY0jacz41Nuc/OADDEFiyTxp99oZw2CFSS7fD+rU6RbwXQLIt4DaoUhlhJVZKzRuZcehi1hMLhlTBmARmBDZyWo4NQTUP2Fo8qJAUkhGbMk8NTvfgNIJjMQulFkAOC4DOW00NI88oJvTo6JvsubT2XLlr8EwmUTQm+jhtbv1EfTf2ZKk55K5awah0geY+ceaROXl8RLVJFaV/Tyh39m9qrQooC0gXZRYHrvhSklzYNpgsVIMs5Zicp3KBHYihj6RiVBsyfaI+E+IdHdjxENbV/aZaiUGUlga5vE/yiScaLhOV9ztzqYvdE0iirCSpqFeySQoVyOD2cvCeHmoIylLEUd1fW/SAe0USkgkB/eNG/qixtSdhZt1Mr4kAv1pWK6pk8PQihHs6jKx0UlKuVFAiJ82Z4iQ1fhSAOwZo7OJl3UJiCGCgbbqG3I/rCKprmlekVGLM2ivKx6tSG5AtXjaCrSiZYoSebRGl1BeMlTc4HDehyLH8MVQ5VEGxTVz3pCn7mr/TV2P0heTiCn3VKG5iR1az9Ia/i2I/1pn95+sH1ofpJ3slDSNpUoXSaeu6PgjWhPH/EOLkEMHQWDm7l94PZ26xLkVQ3/E0qAROQsppUEUPDMmnSPpu0nICJhSkBkpKlcbuG3aQpKlseBFHZj619IwlKkuzvwr3aJ0xWkHRNSo+LJxcMP+0j0gs7EoZOQJDAvlKgxpWprApIWS4J5io+6aweXjCAQVCpb3Ul6moLU/WMzBpW2ggD2ftEqB1UFD0hmd+0pmDx5VHepKX70P8AgRGnzXL1A0D05uDHyiSKPwqoud26M/HF7o2TN43FiYXZPQN/mFwsvQ9iYo4fZmImISQgqSXY0POp4iMJ2epBAnJWkly+S4HCj94pNLQVYktf+C8Yzq+3gs3DtdJ9B5wJIFWJEKYUfLxJsocR9nS0bl4kVoQ40LfV4J7BTXV2I86wJGHWqySSLsmvlGtGpmhMSXqX0cCPlzd/J/swsHG8afpHyk6uOv1igGEzh9jz3wQYhLaWpR/nzq0JpVv8iI0eD+sDowxJlBwwBGrPZqmPlHKeII4+YhRm17vGlZiGPp+kYx6HB4+UEjOauWqrrS1CSLRQl4YzUBaEm/xJpd2SS9cxYvHkZeewBPBg0GCVEXynmAdzco4ygvZabKGOUEAock3qltXPkTE1Al1JVV/hceojkvBFX40dVfpAyhKXcksWYBq83jpGuEyXYyMOlTZZieRGWvDK8P7Gw60TCVsEpBd2bdeJCsbqlCRxqfWnlHJuNUseMk+kVTIKn7QzhNWnIpwEtel3pEoy2BJbd5xhczd1rGvauI1sUkGwOFmLV4Eu193XhB9vYKQlQ9ip1fiAqkcifSvSKE/EFWFeWlh+IClPxR5xU6oN+EKbuw5PpylKZ7gM8LlTUI++EVsRNKUpCEsSASQOsT/3kH3gDd2jKRVAlHtzgoPL76R2XJz2DenWsb/h4+I/2mBzQqL6DBCGLHxasH7MQwhyXLQA5S5FL60p0rCZnlqvqbmnFjSDIIOpJrlcBjvoHH+I4NnUZXLW7BJdhTo32Wj4YVYIypVmNqt5DXhxjcxcxDAoejGgLvUNdjXQRw4+YzM9AlmBIpuBppXhE2+jUcGGIUzF/wAz/Wgjjiuazvdx5D5iDqxGZqAaa8g4Bu3CMqce/wCEfiO+9ksTx0jZPszQCXIewYmrByGvW9bUcW6wAIKXoDavHnv6w77NN3J1ehfc5JLGPvepQHecx66Q5hifYXauJlFJTMWAklQBUSCSa5g9a7zHMTtDFLACpqiBmuWooeIbyG0MdmSkhqkj8RLCurMY0JIUfCkGmnqXJ38qxslzRqMYOSFOFzqMSw4aPYekPYWRIslKgfzHzpHNn4FOb3SoHxFlJHEM4JGvNoqz9kLHiQkMQD7wfkQQCT0jl5J9WXFCc/ClJokMdQ/zhScFD/0uqvL7aHJCiJoSsqSFFjoR3g+Kw60TMucgGxZWtnYNHOM32LiiQiUgtnlkE1BADcC1PWAzsNLAB8KiXcAkN1fWKZlErKFhTmg0B3aVBYVeA/ueX30LCHukIJtqCajqI7LyNkOIjKwKFJzJQ+h8Suuu568DuhlGHlZG9mAoa+Kr74VxEw2ZmNLJ8gaQL94WkWIN+I4u3WLtsmqK2DkYZSVCYr2ahYpRmHL3gfKJ00ot8tN8bk7TcJKhmAsCm/E0HzEcl4qpyhJ08aWbkQRE7QgQEv4a8W+RgxSDoka0SPPdGMUFFsssEWJSUv2DUp5wupKw96ca13tBv2YLPQBcA8gn6QopYcNlrVilI6cPIxozFH8R6wJN3U3Cl+dI6RkTaNlND7oeo8I7DSNyMqnKgKA0YU43c8owJYY5TffY/fzjIWapUlxw05bouMkEk+gf7wKeEcb186R8iek/hS/HN9YclYaSQylTEHeaj0hkfs2VB0TAUmocfMRVoLoSRjMpcBLi3iLDoSx5QT+StTslBLuKsToQxoHuGj6bsCcLAK5N+kLq2dMF0qHNJES2l2PJpUpSGASAovR1B66Aq8wTGPahNJqCk6HKVD/l9YGXR7yQQbpU/lqDxEfFOcn2RP8A/NZ/4qND1aNyPBlePUaJIbczeUc/f5vxesLrIBIUkg2KSGb5iM5OflDigtlJRTQJS1NKvDmDQpAcJYnU0p1/SFJc4tRTdKevpB0zTfKSN7ff20eV2uDv3sZllQJYgbwHUDTtHwkDcT5en1jqGtmB5P8ASGV4VVAPEWdgCWHEty7xGUilRlCUhJoQfiSQPk/nAkKSKMd9yfJ2gyZIuZiGO5z8ukLKWjrGuQUgqlOz/fcwRCHDZQ3IQsJgLAAvvcN2g5Qi5JZntruv5xtjoo/uDAFklNnD+orDMyRLCaSgqrkgi/8Aud24RJwa1JFGINcpseIh+VicpP8ALZrsw9WjUwCJx5+BD6HMAw554yva0yuUpTV6LQPMEHu8ZXjBfIcu+j9gTBpcxwCBQuAQRfdz4QUAjOmzrqWxNfeAfi+sUMeszpKFD3kCpFizO5GvunqY5NSpaKEApP5mbprGdmTsqsq1Cth/McnmoNZ9YDCc3ErUEqSVZsrKAzVbXdzheRiph92vKjcaU6mHlYj2a1IWpKZagajNmHwnWsC2Vi1FWUqBBtz0hVGAqxuYMUPwPifs3pGpIJtJSwe6SWe7B/SK3tZqTTKeZtzjk7aMwhvAOKTlI3RRNk6bhiwJlorolBfq1oEcMf8AT/8AjVFDA4wJVlxM1QTpMSUqY/mSdOI7R3bKkpObD4gTUmhAzBSeNmUOX6w4hkShgSKZVD+k/WC/uyjRlHoP/KNy8ZMJTXUJrYvqqtOO6N4jHgt4iCSzJL9TqBGxNkYlYFRB/lh92SW8b/hajdBHJMoehjKcSBT2gzOX8RPyhVW0lEsljWqiQNeJFxBjfBrG/wCFHVJ7ogsvZXxZm/3JjeCdV/EC71HyLHrH3sl5yDNKEMSFGWVdGQ58oKNYMbMuHbhmBfyhJWzJgLoSpB3pUG7P8osy8DmAV+9Bq3lTAaXopj5VjB2akpzDEqdiwMtaT1dTjtCtdiRP4nOlKaYyt9grvaG8LtuWui1+yVuWG7G0Z2pgVISCP5qiWIQpT6+I5soam96jjCk3ZQWQc2UkMRMFjzA9Y6qZDgj0aMKFAEkK/pBHm8SP2i2bJTLzCWAtwAQ47gaUhBOzpsljJnAPUBK6HeyTQ/pAcZtWeUhM0ChBzJDGm8WjZemCgVduYeWrC5lMpSUpZbVJoHfdHisnPsI9EjGZkt4WIdgwf+kxHXh5bnwf936xUJ1plOHoYXhyk+Elt0ZEwl7A60h13gar0Ijz5M9EorlHEFTB7aU9P0gxmFmKqXZVY6mYwbT74weVOlBLKBfew+cZyZNIGMaw91J4t9S3cR1UsqGZMs118JB5BmjYnStxPRH0hrDYxKaFKik3FKcQAILsmjEkLCaynS9Sw9dIopXIAbyIT81RydmlnwS5ikH8xI7NAMQWAKEkvfxkEdIw2cmYITT/AC1EAXdQIHIAk/4gkvYqx/6nlCgWrVHeZbzjAC/y9VA+kYxRVsdRLqmv0+bwZezkD3F5Oo/SJKJwTdYbUAH5tGiUKPhPcD/yEJOyvLk/HNzDLlbwgNyGsSEy/ZK8PtAH/wBRIB4tljvs0t73l+phmQhKnSSoqylSTvYPlD0c2s0A2O4pKVoCyHp8QDDWtqGJEqQolRQHSw92bKzJ3uHDh7WilsaclaihRIYOCa8CKNx7QpPxZlzFBQNCRdLEaEeC0a6NTH/ZompdQYgBy4en+0kvyhfJhxUqJbf7Q96QBRl+3AXLCkrZlFjfVm+cLqlS0qKVpY5iKKLc72qIpMmiinEYQWy/2r/8YHNnYdDiXPmIev8ALUsBzqwYQrMwg/AgKp8T/wD3+UCXOXLBGUB7uFfONv8AJtDKJ2FHvFSuY+ZrBpM3C6J7pESs5JZKUq5JeKGFC0qBVLYN4mSBSuuhpG2bQb9+w7lKZTtwA9WjX77J/wBJPUiJMzFDMQGPFk/SAKxxJ8IHUt6QMxflbRlJPhlpH9TfKDK2sk/l5EH1EedGOIFb81H5xyZtJh86xJWi5OxauhsfCfRMLHF71NzS/wAokp2k9z1o0Ymz5nE8jWMa7LCMcPiB/pPlGVqRMPvA/wBJzcgXrHnztFehX3/WOo2jMV+Ip4ljFUzFZciv8slTaFwe2vSAlbqOd67jUd4lTMZNvnpyggxaqFTG9woPpoYcRsLicIg/YBjH7r+bzMHk7ZUKJRIbwisvMaElyHq9jvDQwjaM8AMiSzU//WfzaKVkNoWw8sqLZK9A3UxQGz5aS02ZlO4BR82aElSxcBn3UpGkLKPdmFI6t5COVHVsqzMEUpZMlJBqFBQUpuSx6AR9s9TEomKUkKBAzSwkg6EKES/3srUXAWfiZn4BiCTDEnGqSWCpiDucKHZTNG2BTw0haCAqatKgXcPMSR/tFe4j12GmhaAQ7clJPYsY8POx3tf+oJUxtfcV3oI1LnZKpVOlcjnREsKPX7WwCZ8tSTfSPD/u06U6ciyQWoFMRvDCtYrYfbM2mWbKmt8XgV8o3jwrFDxJVKUmrvmSX5GsKdGqhUYCcz5srj4VO25jDMnZ6iBnUXD8/WJcmcuUChC0itRY/wDeAfWPpmOnipUoC9UBu4BjNs1FU7KTuHFwI2NmJ3DsIko2mSKrD7t/cD1j4bRWzOVE7ikEW3GtuMY1MsDZ6ePQtEudJMqa+ZI1S7ktq7JhkbexMoAJcBgT/LSVf1EJvEufj5k9Slq8Sk1Is4sTlHChMYw9iUJlTUrCwyxnTRR8JO8DgYY2xhkrSFgjmxsbacYUkKSrDrSpGdUg5kOSCJaiy7XY1L2Coe2Ti0TUZCnK2gJLpN7ne0SxTJaJYmS8uYOioNbdoYmIzhE5OVakUmA2IZvxAafKFTOTJml0GhIPi/SHZC0S5hSxyzAKu4IPBob7FxF1qo1EvYtVtzi8ZXOmADKolIqrMAryIeH8Vs5KXypPDxFuztE6cSlW4ENweLTObRhONmAEyhld3KH13gFvKJk/EzifESocSetN8UpkxAmAFhmd3YW0BvFOdKdByvyIQoDcWKD2vWNbNo8jMDtUA8Xt9vHErd2GYDdv7RWnYVJfMK8NPOFp+BK/+igjL7+XOoVsSC7WMKaNQsjEKNP+QA7EmMzZxIIJANhUF+gjU/Zik5SoKat2Nr0uDXcIEuUkGhY7mcdtI2jGPbkDRzRmbsYakzlAAlmLd+TUhUZgWdudU/UQX2n+LjzjMw4tIUHNDwBB674CtBSXuN4YmArUUaKI52hjD4oUtWwzfpE7QpmZeMJoA6XsUgHuz+ccxeHQoApSEK1ZSiDuoXbzg4msrKQQ9o24dmL9fswZNcDoUwk32JOZKTpmv/joDHFY9Pxo/thvIBc/fGMOnen76RS8jrgMNiuFnZSxmJSDUguQ+7IQQ/Uc4oSMTLXRIKzq1PIkmPLzABuDsfD93jKVBJdNwzC133WPWLwTHJnqJi2NEpTpQfMk1gC0qqx5ggfSJC8VMLBaiqzB/qa944jFFgC/MEpPlr0gwNZalSvdJYVOa7Aacj5QFc+clSiGGrijDvCI2kpNiSPzacCd7QdO0ULDKcPcpLB+Vo2LNY7L2gs++lKhxAPnfzignbJyhLGWB8DAdiC/eIshIJ8EwKAuGZQ82PlHoNny5Qavi/NfoDQ8xEMbRw4skeMpUDb2stvMOPOD4LC5iChCkA/jlrBHr5Q4ucGq3WENp4tGXxhSt2WgfnaJCxjFrkKGXNLzjVSSH5kZW6Qrh5Kpas6ZYLaoKVjolQJfrEzD41alMxUPhLKp/UCBDClJFcozb5ZKW/qdn5CMUWTtwWmJFiKhcssbimYekKrw0xXiSkkqZmIYDdmuX5RnCbVSlJBKyTYzPEB1Sxj6fi/atnQhbWyLKSP6SXMYKM4J5E4GblSlilaSQXQoMQwc7uoEDwi0SpgKZpUkX8KgSNeVI4tYZiuYj8sxOYdAXjCZQ0TLX/tJSe1h2gYopftHIllpgzh6FmPI6XHpEtW0JZQlBzuk0Uye3vWi1hkCZKMshSWDVIPIgi/6R5zE7PIUQChVSCAoP2LQGTLMvbiFJCVZqC7D5KMcxcjUAqSRRtN1HekQJklSLpI6H1irhle1kEXUivQwp0ZxNrwvtQoDKGBdKyEKsapBNS3Ww3QqrHLSQxG4OB9IpYLEyAnKpbKUPxVFdz0EbGy65k5Vj8pb6j0htdk0yan2i3ISA9SWAcx9h5cyWpz4dxJIPleKcyeqWaIb/eD5KDiFdo4rOn/pCutCO4hz6RsWamFK1OUzN5UwbnmUaQCb7J2KSRvcORwu/PyhWVIbkbgG+5xDeIw60olryIKZlE+NAUVVZLKIJUWsHMKQNiacMkk5SUA2c37ht0GXgSAAW3kkMWtcFo1OBziWys5J8CgoKIGoBDHWj6UeAOtQUUEKDsDZ21AjOBlIHisIUixI11hNclV0XFxvj0OH2JisntCAlKnuQ5AuQC3kY3NkSwQmYUBZDh3QTwrfoYi6KpMgH+anNQLTVqg9Q1YYSolIqWN79uHOD4yVU5RkehBQ7cXNexhvZmEQHBUVUFiBWruD2puiZOldGomuEGqETAzNMBU3KoI7wiSn4R99Y9biMPLALp6EHypWFv4Lhf8A3eiQ3Sto3i88F96YTjP/ACfn0wcedm4WjgXqbA3Br0DvHEZaVbQghw/eNrlglkpq1kkq6s9o9ZJpMwsQyWOtH8+cZUg0c/KMCarLYFtB8wC4jMya5cJyuapSVEDc2clTcyYUA1KmjUAgHSl7Vvv3R8pBdx7pNDRyHa1z0eBhdgzcfxd930hzI4dwW/DR7VoPVmgboxzBAgEuwFz8rX7WvDcnadGIzcxf5dIQ094ivhYhx5/bQNCio1Lvbed9uMFJ8jZ6CVjBorKTbXsDbo0HmzlqAzEqHwooeZ/QEx5uVMq6y4sQo6bx/iGMPPAtMKbe8HFdL/SJcPQ2UpmOJpQJ+H6vU9Yb2f7ScsJlyjMVoEgnvu5uIkI2lmP8xD7jq305PD+Bxa0KzYecpB3OR6fQxFNFWmeombKmyin20sytQHcHzPbNzEZGz5ZDZA3bzvHnsdtbFTF55k1ajvJcDmLAQyjac+jZFcQzHnWkbcuWTWPATFz5ks+zRkSmtAoHu9QeDQtiZrGqUq10B7pYRTkbQlzPDMSkqFfC6m5EC/IxD2hNCVqTlIS/hBfMOp331iC4soYHHSwRmzAWYkKTzYgNDOLmoUfCZagd5r0Ko86iek0r5H5wRCgfDqbc++tusFjirstYbDElkpWjiFeHmT+kMJxqZaSkKStWpOUA/wBtTHmUz2FFM9NflHFoetxxeEHEsz8E4cylAG2UhXYXbrC0qTkLy5pQeLpP084WlyJyRmQ4F/CTBkbWnJosJWBotIPneMaitJ2jiEioCx0PmIOja0tacqwqXyJA7p+cIYP9okJf+QElQYqlliOTvDOExWFV4lz5huckxAL8AoP8oDOxqVhkEgy5iFE2CgD5hjBJstVM8p2IIKWVUWOhEefxZKllUtKQnQAv5wxg9rTkUJJHEv6xL0KVlbaGLxPupxKkOPdAAJe/8wOtjyEUdibEEo5pM6Uw8SlKGZQ5BTtfRoRk7TlzA02WD0+R+sNS5EhnlzjLO4lx/ap/IxL8zaoPjpleatGclWacdCs+C1wkVvpaENumVNSFYhKfCGRZLDckUpWIG0NtrQ4QpCtygCD/AGkluvaJJnBRzrJUrTM/zpAoOTuyrSG5kskjIDl03Ac9YWnryf7uBjqsSoinhG+El4pIVd1bzbqY9CTqjm2h6RjFhN2G87uG6PjtZPxekScQpS9dzsHTbeHgOY/+35RvjQ5MSlqORSQAaNd6Hc2scExYSBmKQXoHG5nq3bdFTESZcuis3tHr4QE1q7gkqBeh4WjK0pA8Pi5D66RWdDjZIxOILh/CRWpLu96wNZNC5bgXPLhbWHsRh0D31gcrdg8IFNWzPq9+4eLjJMhxaGpGKALAFAapNjp4gXBFTVo7NneIkDNxDJfi2nRoWBFKqvqxHcV7iOlDUU3Q8TVw7/pCAaRMejOXoPxOSKb27iMTFMfdYA1cPXiCG6QRMo8xpuZ77vOBzydaizOXHCsazUdmSQlKWU+tHca66caWg8xJASklQ3BVNdxFQSDQEwvKnpAbKW/FloQNXP1EGJf3WU+qqqa2lHqLwgcn3pcXTY9BTz3xqRicqnADWYsx5+daQfZ2FlzFZVzBJqwcEgnibDm8ObYwUiUoIlzfaqbxN4hm4LYMBubqdCxEU7RUmrm9mcX+7GHRjkG4Be5t3BqT1Iid7NKR4t9QoD/l+n6jIaoSzdRwNmIO9u0FRZrZcwuJ0lrSfyqH0APQCMY0rUsHJYN4a6d4kILh0lyA5YW+vSCy9qEAA1PGvrTziHD0UpDgmJdiz8mMEMvVJY6RyRtNKqLS/R4YEuWr3S3Ak+rH0jm4tHTKzqZQfMwrVv8AkGbe/RopYeaHfIFAailORN4jLCXYu/AgxuWsCylp6D6wYs2SPQTJssAgOhJsRQg8t3J4RXg1lw6T+K9/zQCTPKqEpXwWkv0YmH8NIJdThKRok5uYD25GJpo1piasMmyk96HoQ4gStlA+4S+6p8x60g2J2j48glEuHGdeV+iUxv8AeFtlLBO5H0VXfF77I/RPODINZiQ128XpDMrBV99L8cw46PDqZKVe6Q40dj/aoP2jGKWlGVnKtagMedYlpMbY7s6XMcAJ9oPyqB17iPTL2cDLHt1ZUj3UggnixNBoNeUeD/iRD7nBZNASLFRuephhe3SpTrUCzshLEObVNR58o4vwbtHT5OitjpQzNKSlIsFNmVXeoh+zR53FzGLsVK3lzDs3akxsvsTLBsQAX3vErPWnLcWi4pxJ0wZxqwCCoMbhn8w3rGJk4qDEJPd+8LzXB+ob76GOAgXbpXyjomBqWogEWHCv/dAfZjf5QaWDyffHcg+2+kWpMl0DmEpAUSFjUBx3Nq7oQm4pZ8LEHQOwvGhMQUHNmC/wtQfbcK8IEpZY0pwu9atZ6boqhuwRlqABKSxcW3aF43MqAByNau9C2gaOIVm0cNWjj9OhjaJYu6Ws9xx4iLsgwkGxDsf8cRHZZUElnFwTW7VqOescMsAOnfXRtzG+mkEWRlchtKUzcSWvDZjQDUzEUdi4cs9GBvxaNiQoghOUhxqAdzhzxtCylKF6Uu7uOYoeu6DJnAmr15JHM6EDpGMERhUlzZQA8Kh5h2Lcn7QKZODgFAoalNGbQEd2ghmVs4ADCwLGpY2etmhXEznVQepYbg+ggRqo+nY8Eh3OjkB+paPpmKSWp2II84CtIIJArS3z3RyXISoOKNq7emvCOrUK0R9XYwF/FWjfRiXEUJcwFArUD3SDwsej30iZmAcOquoZm4740VaAltKAH5gnhWIZQ5NXXiBdJvpRw+hvApmY1egoHZ72u5blHcNMUnUVBoQCOqTTQR0YM3FudPOJ4E5IQU2J52Y/PygslKmLV1d261p0jiSlJzJLvTxAM7VOUEnW4jEzFkqYZSdybfpAJTOMypGYpXVindxGah6GGZCkKLjMk1uCRatFDdWJoIYAPyu2+KOCxk2SGQvKk3TQp3HwlxHKxDS5kxLhKgoG4SyVWpb6QlMxCyQCcraFx668YEp3u2oIoz7t0GViV2DLahzFzGYg5qSVAuHFmUOcMfvc8JcpSob2f0hSYJaj43STuGYfUR0yVN4C7WKSQe8P7A6uatVyb0HpVo5MxVWFTwrGpU3MQJnhmCyjQK4K48Y06pZY0TcFg29iaPuvFKgdnf3sJbOhgdTu3+kH8NCg5kvWg7g0IMHM5Ps/iKvizFI4AKNTwYiMYLZhJUUhiqp0A5DQRNowyqfY+IkWzM/EMKNAJUwAuUv2+sNKwMxKXyvwFT+sA8JLM6t1vKBoVJGyQsUSW6NC6sIAXAbh+sUZSVJ949I+n9IlMWSFyyLudzFu4sRAzP8AzL/sEOLYRPOOTvPYxdsKISlcHHcDrpBVSlAAguHcijD6cuEAxEw6tpoB6QzKnHLuNnFKcdDHRgDUt9wtUmnp9YIgkk5iDzN97GsalyAVpTZ2qOLXGsCKrAUcsW+kYxpw/Lv3avURmYDUgb62I5sS8fJU7pNQHbSx/U94JlCgMoKS2992jUjAYQoHM4ILUYsS+p4co4hanINTRxR6G1fSNJl07cu0FSoFALXJpupcagxhOKyqPgcAO4fVqMkhw/XpGLOGfzHTWDyMLmQtT1QBxcW30heYTkLkEILM296vcWgTMYmm24e65cj5iMKZRcsdbq9frBBI8KVO+a4Nd2vWPpUskh1caAA04xVhR8ksQWezGhqNKfODoRlZTlNxZj10sYXkTQo2Zy1L9zBcVOUGDgsKON9SK84HyYLiJqEMAApiXUxryq331jCpmYlqOaAV6ZTTdrGZ00glI8IUA+WncWMP7PwQIUDZKlAgBgrcSCS1tIG0kK2xOZhGJSxJG4EE8cqqsb0MMysBlZS81BVKfEx5tSjQ5KUScqTlBG5+++O4U0UogEgKNXYsaihF3vBbY1QqjHJcBKMqXqWzEcTDk1Yy0WknhnJIpejBmsawDEYhwCEgWIZ3DipfrCs2aQH4wUaxl824MHAH2wj6ZMD0vwhqQ8pKJoyl2oU09Y3jMWJwKigJIeovTjeMqYOwcjZ5UhWaii2WrU4kb4Tm4VUoWYKoC927xMwP7QzZkxAoGFbl/p+kX52LVMcrZkmiQGA1MS009j1oWwoUoMrxJ1KmYdWg5xCE0C2O4gt0fSFzMKgDYAWFo+GGSa2J1ENCij7ZzmN/iS3oflHcDjJ8uiVpmh3ZYKVf3D5iJAnKSvK7nfbyhkY3xZSkHjaMrRLSZcXtVRYFPsybkqBruB06xv8AhJWCr2mQs70bnwicpBuFH1gaMWrNlOVmJ90CJbsyVGDOnJJSlXtGN9O8Yn4zS6t14Uxu1VFQRYEkUppFTZuw0TEpWSoKu4Pk0NpK2IHATFmgQ5Optxhg4L86f7YrowSUtvGvya0a9mn4E9hAppktM//Z"/>
          <p:cNvSpPr>
            <a:spLocks noChangeAspect="1" noChangeArrowheads="1"/>
          </p:cNvSpPr>
          <p:nvPr/>
        </p:nvSpPr>
        <p:spPr bwMode="auto">
          <a:xfrm>
            <a:off x="1679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dirty="0"/>
          </a:p>
        </p:txBody>
      </p:sp>
      <p:sp>
        <p:nvSpPr>
          <p:cNvPr id="44036" name="AutoShape 4" descr="data:image/jpeg;base64,/9j/4AAQSkZJRgABAQAAAQABAAD/2wCEAAkGBxQSEhUUEhQWFhUXGRgXFxgYGBgaGxwbHBoeHBgZGxodHCgkGxwlHhcYITEhJikrLi4uGCAzODMsNygtLiwBCgoKDg0OGhAQGywkHyQsLCw0NCwsLCw0NCwsLCwsLCwsLCwsLCwsLCwsLCwsLCwsLCwsLCwsLCwsLCwsLCwsLP/AABEIAL0BCgMBIgACEQEDEQH/xAAbAAADAQEBAQEAAAAAAAAAAAADBAUCAQYAB//EAEMQAAECBAMGAwYDBwMDBAMAAAECEQADITEEEkEFUWFxgZEiobETMlLB0fBCYuEGFBUjgpLxU3KyM6LSQ2OjwhYkc//EABgBAQEBAQEAAAAAAAAAAAAAAAECAAME/8QAJBEAAgICAgIBBQEAAAAAAAAAAAECERIhMUEDURMiMmFxoUL/2gAMAwEAAhEDEQA/AKOH2XhygkTgCGFcoFedfKEV7PqwWGsCFU3X6RDCjQWOpfpqaQ/J2goCyQxuRU0rXtX6x7MZruzlcX0OSMOkEkqFOfoRFCZiZdQlaSbVl6X3CvSPOz8fmPiLF9Es3aOhYUPCTSv+HMLg3tkqXSPRYNay4Qyi5DDTVx97o+ny1OQpIc38Vt7VN39YgJJop2uwJGm9/nDIxSkgAk10Jo33wicGnobvkPiJqknxADne1A8AVNdmcX11hqVlW5Vlrzfm4r3ePpmzVVqkFqMofr9vFKaWmS4t8CwJTWvP6Pb9I2nFEPbmd/DyhgbKmMDqSbE9fvnBf4ZM3ZgdxB3UjPyRNhInAFViSHepoO8aGa4Ku9ebPDsnZub3mSG1emm694Ym7IQBRb03Za630anHyjfLE2DJqcWo+9VqfflDsjay/dc5dQ79nhdCUhTLJytcBKm3uDUgB+wjMra2UVQkjjfo3IQyprSBWuz0uHxSDUSSTqpmNeR3QZO2paSQUqAq99Da/nHm5X7QFCvdQOCgabtXgs39o5aw0xANw4PoGpb7aPM4S9M7Ka9npxtMFJMozDxBBbWrnhrCU3aa1D3if9yQNdDElOJwy/EFLR/U9ezR9MBUHEwLTVqsePPnEpRT3/RdvgpL/aBYokAaO2tqcID/APkeIr4z1Tu3NSJPsUqvmB5P6V/xHZkhLAJUXfcWHEmOqXj9EPMdw22phU0xWVJUSVAGj8i9xyqYobd2yZIl+zqlQf2lwe1H1jzuJwASglS/GFZcorRnCs1m0haXPZDIWoVqlyxdwab46RjB7Rzk5DisYiYrNMSFP7zPm5hyQTaHR+zmHmD+TPYn8Kw/TQ+seWJykhteUaTPPxKfT7pHbFr7WQ6fKK2P/ZPESw6QmaPyEuOhY9niACoGzGxBH1i3h9v4iWCErKgdbkdFRiftJU0utSStm8QCS2lwPWKU5d7DFMnlCmcgjfGVr59Y3MxExKgCWegdux4QWZLUXdSH3EMfKNnXI4ITWq1W6xpOJXorueMfLlZSApg+4vAlSdzdIckycWjqpigfFA/bN/h42ZSm0++kLmt4U0ZpoMZj7vSOiefj84XU/wDmO9IbDZpEwnX74QeQpzlD1NtfMGvK8PzsPhlJ/kzxe03wnuBx3RnB5sMUzfACl2rmBcEUyipqaXjzuX4O6NSsK6WDb6kHhbU8hB5mzpYAzEOz0JB5Nw48eEAVtiU7pQ8xVaE5SSXswOrM8NyNosRnZCXfKtKiOQBd+ojk3NFpRAjBSgQMyhZwWD7mLfKDLwqUsyTwJeo51BiuJ0lXuzEF71yjsA1uEa/dkKZggtQBOU8dQBx3xGb7GkQ5qQVAe6CbDTvxEcmYYpZyQk3PDX6xe/gCZh8RUk1Zxdxoz6tSJWK2JkV/1Acv4SFDpSKjNcWDiwMyaEKIJzbi5PDcD8u8WZG3paNcqqUfMPOxtEE4bK5WzHQVIHCtOsKTJgemvFzxBa0bCM+TZOJ7SZt2UqvhGbelmo9zRn9BCWIxsnecpccOP+Y8ogmwNC+5+GtzzjDqGig1DT1gXgS4Zn5WXJuIkmz0JYk+jPWu/dCc2YgPY68TQdQYlTC299a+XLpGQgsCASac/J93lHVQrshyHVrQXJo/DypaOCdKLUVxLv1IYRPJO7u4joHDXSLxJsqLMoJcTK6gAuPKEpmII90q4GojMskUy1vr9YIqSo2YPo9YEkuRqwY2iu+ZV9SY0jacz41Nuc/OADDEFiyTxp99oZw2CFSS7fD+rU6RbwXQLIt4DaoUhlhJVZKzRuZcehi1hMLhlTBmARmBDZyWo4NQTUP2Fo8qJAUkhGbMk8NTvfgNIJjMQulFkAOC4DOW00NI88oJvTo6JvsubT2XLlr8EwmUTQm+jhtbv1EfTf2ZKk55K5awah0geY+ceaROXl8RLVJFaV/Tyh39m9qrQooC0gXZRYHrvhSklzYNpgsVIMs5Zicp3KBHYihj6RiVBsyfaI+E+IdHdjxENbV/aZaiUGUlga5vE/yiScaLhOV9ztzqYvdE0iirCSpqFeySQoVyOD2cvCeHmoIylLEUd1fW/SAe0USkgkB/eNG/qixtSdhZt1Mr4kAv1pWK6pk8PQihHs6jKx0UlKuVFAiJ82Z4iQ1fhSAOwZo7OJl3UJiCGCgbbqG3I/rCKprmlekVGLM2ivKx6tSG5AtXjaCrSiZYoSebRGl1BeMlTc4HDehyLH8MVQ5VEGxTVz3pCn7mr/TV2P0heTiCn3VKG5iR1az9Ia/i2I/1pn95+sH1ofpJ3slDSNpUoXSaeu6PgjWhPH/EOLkEMHQWDm7l94PZ26xLkVQ3/E0qAROQsppUEUPDMmnSPpu0nICJhSkBkpKlcbuG3aQpKlseBFHZj619IwlKkuzvwr3aJ0xWkHRNSo+LJxcMP+0j0gs7EoZOQJDAvlKgxpWprApIWS4J5io+6aweXjCAQVCpb3Ul6moLU/WMzBpW2ggD2ftEqB1UFD0hmd+0pmDx5VHepKX70P8AgRGnzXL1A0D05uDHyiSKPwqoud26M/HF7o2TN43FiYXZPQN/mFwsvQ9iYo4fZmImISQgqSXY0POp4iMJ2epBAnJWkly+S4HCj94pNLQVYktf+C8Yzq+3gs3DtdJ9B5wJIFWJEKYUfLxJsocR9nS0bl4kVoQ40LfV4J7BTXV2I86wJGHWqySSLsmvlGtGpmhMSXqX0cCPlzd/J/swsHG8afpHyk6uOv1igGEzh9jz3wQYhLaWpR/nzq0JpVv8iI0eD+sDowxJlBwwBGrPZqmPlHKeII4+YhRm17vGlZiGPp+kYx6HB4+UEjOauWqrrS1CSLRQl4YzUBaEm/xJpd2SS9cxYvHkZeewBPBg0GCVEXynmAdzco4ygvZabKGOUEAock3qltXPkTE1Al1JVV/hceojkvBFX40dVfpAyhKXcksWYBq83jpGuEyXYyMOlTZZieRGWvDK8P7Gw60TCVsEpBd2bdeJCsbqlCRxqfWnlHJuNUseMk+kVTIKn7QzhNWnIpwEtel3pEoy2BJbd5xhczd1rGvauI1sUkGwOFmLV4Eu193XhB9vYKQlQ9ip1fiAqkcifSvSKE/EFWFeWlh+IClPxR5xU6oN+EKbuw5PpylKZ7gM8LlTUI++EVsRNKUpCEsSASQOsT/3kH3gDd2jKRVAlHtzgoPL76R2XJz2DenWsb/h4+I/2mBzQqL6DBCGLHxasH7MQwhyXLQA5S5FL60p0rCZnlqvqbmnFjSDIIOpJrlcBjvoHH+I4NnUZXLW7BJdhTo32Wj4YVYIypVmNqt5DXhxjcxcxDAoejGgLvUNdjXQRw4+YzM9AlmBIpuBppXhE2+jUcGGIUzF/wAz/Wgjjiuazvdx5D5iDqxGZqAaa8g4Bu3CMqce/wCEfiO+9ksTx0jZPszQCXIewYmrByGvW9bUcW6wAIKXoDavHnv6w77NN3J1ehfc5JLGPvepQHecx66Q5hifYXauJlFJTMWAklQBUSCSa5g9a7zHMTtDFLACpqiBmuWooeIbyG0MdmSkhqkj8RLCurMY0JIUfCkGmnqXJ38qxslzRqMYOSFOFzqMSw4aPYekPYWRIslKgfzHzpHNn4FOb3SoHxFlJHEM4JGvNoqz9kLHiQkMQD7wfkQQCT0jl5J9WXFCc/ClJokMdQ/zhScFD/0uqvL7aHJCiJoSsqSFFjoR3g+Kw60TMucgGxZWtnYNHOM32LiiQiUgtnlkE1BADcC1PWAzsNLAB8KiXcAkN1fWKZlErKFhTmg0B3aVBYVeA/ueX30LCHukIJtqCajqI7LyNkOIjKwKFJzJQ+h8Suuu568DuhlGHlZG9mAoa+Kr74VxEw2ZmNLJ8gaQL94WkWIN+I4u3WLtsmqK2DkYZSVCYr2ahYpRmHL3gfKJ00ot8tN8bk7TcJKhmAsCm/E0HzEcl4qpyhJ08aWbkQRE7QgQEv4a8W+RgxSDoka0SPPdGMUFFsssEWJSUv2DUp5wupKw96ca13tBv2YLPQBcA8gn6QopYcNlrVilI6cPIxozFH8R6wJN3U3Cl+dI6RkTaNlND7oeo8I7DSNyMqnKgKA0YU43c8owJYY5TffY/fzjIWapUlxw05bouMkEk+gf7wKeEcb186R8iek/hS/HN9YclYaSQylTEHeaj0hkfs2VB0TAUmocfMRVoLoSRjMpcBLi3iLDoSx5QT+StTslBLuKsToQxoHuGj6bsCcLAK5N+kLq2dMF0qHNJES2l2PJpUpSGASAovR1B66Aq8wTGPahNJqCk6HKVD/l9YGXR7yQQbpU/lqDxEfFOcn2RP8A/NZ/4qND1aNyPBlePUaJIbczeUc/f5vxesLrIBIUkg2KSGb5iM5OflDigtlJRTQJS1NKvDmDQpAcJYnU0p1/SFJc4tRTdKevpB0zTfKSN7ff20eV2uDv3sZllQJYgbwHUDTtHwkDcT5en1jqGtmB5P8ASGV4VVAPEWdgCWHEty7xGUilRlCUhJoQfiSQPk/nAkKSKMd9yfJ2gyZIuZiGO5z8ukLKWjrGuQUgqlOz/fcwRCHDZQ3IQsJgLAAvvcN2g5Qi5JZntruv5xtjoo/uDAFklNnD+orDMyRLCaSgqrkgi/8Aud24RJwa1JFGINcpseIh+VicpP8ALZrsw9WjUwCJx5+BD6HMAw554yva0yuUpTV6LQPMEHu8ZXjBfIcu+j9gTBpcxwCBQuAQRfdz4QUAjOmzrqWxNfeAfi+sUMeszpKFD3kCpFizO5GvunqY5NSpaKEApP5mbprGdmTsqsq1Cth/McnmoNZ9YDCc3ErUEqSVZsrKAzVbXdzheRiph92vKjcaU6mHlYj2a1IWpKZagajNmHwnWsC2Vi1FWUqBBtz0hVGAqxuYMUPwPifs3pGpIJtJSwe6SWe7B/SK3tZqTTKeZtzjk7aMwhvAOKTlI3RRNk6bhiwJlorolBfq1oEcMf8AT/8AjVFDA4wJVlxM1QTpMSUqY/mSdOI7R3bKkpObD4gTUmhAzBSeNmUOX6w4hkShgSKZVD+k/WC/uyjRlHoP/KNy8ZMJTXUJrYvqqtOO6N4jHgt4iCSzJL9TqBGxNkYlYFRB/lh92SW8b/hajdBHJMoehjKcSBT2gzOX8RPyhVW0lEsljWqiQNeJFxBjfBrG/wCFHVJ7ogsvZXxZm/3JjeCdV/EC71HyLHrH3sl5yDNKEMSFGWVdGQ58oKNYMbMuHbhmBfyhJWzJgLoSpB3pUG7P8osy8DmAV+9Bq3lTAaXopj5VjB2akpzDEqdiwMtaT1dTjtCtdiRP4nOlKaYyt9grvaG8LtuWui1+yVuWG7G0Z2pgVISCP5qiWIQpT6+I5soam96jjCk3ZQWQc2UkMRMFjzA9Y6qZDgj0aMKFAEkK/pBHm8SP2i2bJTLzCWAtwAQ47gaUhBOzpsljJnAPUBK6HeyTQ/pAcZtWeUhM0ChBzJDGm8WjZemCgVduYeWrC5lMpSUpZbVJoHfdHisnPsI9EjGZkt4WIdgwf+kxHXh5bnwf936xUJ1plOHoYXhyk+Elt0ZEwl7A60h13gar0Ijz5M9EorlHEFTB7aU9P0gxmFmKqXZVY6mYwbT74weVOlBLKBfew+cZyZNIGMaw91J4t9S3cR1UsqGZMs118JB5BmjYnStxPRH0hrDYxKaFKik3FKcQAILsmjEkLCaynS9Sw9dIopXIAbyIT81RydmlnwS5ikH8xI7NAMQWAKEkvfxkEdIw2cmYITT/AC1EAXdQIHIAk/4gkvYqx/6nlCgWrVHeZbzjAC/y9VA+kYxRVsdRLqmv0+bwZezkD3F5Oo/SJKJwTdYbUAH5tGiUKPhPcD/yEJOyvLk/HNzDLlbwgNyGsSEy/ZK8PtAH/wBRIB4tljvs0t73l+phmQhKnSSoqylSTvYPlD0c2s0A2O4pKVoCyHp8QDDWtqGJEqQolRQHSw92bKzJ3uHDh7WilsaclaihRIYOCa8CKNx7QpPxZlzFBQNCRdLEaEeC0a6NTH/ZompdQYgBy4en+0kvyhfJhxUqJbf7Q96QBRl+3AXLCkrZlFjfVm+cLqlS0qKVpY5iKKLc72qIpMmiinEYQWy/2r/8YHNnYdDiXPmIev8ALUsBzqwYQrMwg/AgKp8T/wD3+UCXOXLBGUB7uFfONv8AJtDKJ2FHvFSuY+ZrBpM3C6J7pESs5JZKUq5JeKGFC0qBVLYN4mSBSuuhpG2bQb9+w7lKZTtwA9WjX77J/wBJPUiJMzFDMQGPFk/SAKxxJ8IHUt6QMxflbRlJPhlpH9TfKDK2sk/l5EH1EedGOIFb81H5xyZtJh86xJWi5OxauhsfCfRMLHF71NzS/wAokp2k9z1o0Ymz5nE8jWMa7LCMcPiB/pPlGVqRMPvA/wBJzcgXrHnztFehX3/WOo2jMV+Ip4ljFUzFZciv8slTaFwe2vSAlbqOd67jUd4lTMZNvnpyggxaqFTG9woPpoYcRsLicIg/YBjH7r+bzMHk7ZUKJRIbwisvMaElyHq9jvDQwjaM8AMiSzU//WfzaKVkNoWw8sqLZK9A3UxQGz5aS02ZlO4BR82aElSxcBn3UpGkLKPdmFI6t5COVHVsqzMEUpZMlJBqFBQUpuSx6AR9s9TEomKUkKBAzSwkg6EKES/3srUXAWfiZn4BiCTDEnGqSWCpiDucKHZTNG2BTw0haCAqatKgXcPMSR/tFe4j12GmhaAQ7clJPYsY8POx3tf+oJUxtfcV3oI1LnZKpVOlcjnREsKPX7WwCZ8tSTfSPD/u06U6ciyQWoFMRvDCtYrYfbM2mWbKmt8XgV8o3jwrFDxJVKUmrvmSX5GsKdGqhUYCcz5srj4VO25jDMnZ6iBnUXD8/WJcmcuUChC0itRY/wDeAfWPpmOnipUoC9UBu4BjNs1FU7KTuHFwI2NmJ3DsIko2mSKrD7t/cD1j4bRWzOVE7ikEW3GtuMY1MsDZ6ePQtEudJMqa+ZI1S7ktq7JhkbexMoAJcBgT/LSVf1EJvEufj5k9Slq8Sk1Is4sTlHChMYw9iUJlTUrCwyxnTRR8JO8DgYY2xhkrSFgjmxsbacYUkKSrDrSpGdUg5kOSCJaiy7XY1L2Coe2Ti0TUZCnK2gJLpN7ne0SxTJaJYmS8uYOioNbdoYmIzhE5OVakUmA2IZvxAafKFTOTJml0GhIPi/SHZC0S5hSxyzAKu4IPBob7FxF1qo1EvYtVtzi8ZXOmADKolIqrMAryIeH8Vs5KXypPDxFuztE6cSlW4ENweLTObRhONmAEyhld3KH13gFvKJk/EzifESocSetN8UpkxAmAFhmd3YW0BvFOdKdByvyIQoDcWKD2vWNbNo8jMDtUA8Xt9vHErd2GYDdv7RWnYVJfMK8NPOFp+BK/+igjL7+XOoVsSC7WMKaNQsjEKNP+QA7EmMzZxIIJANhUF+gjU/Zik5SoKat2Nr0uDXcIEuUkGhY7mcdtI2jGPbkDRzRmbsYakzlAAlmLd+TUhUZgWdudU/UQX2n+LjzjMw4tIUHNDwBB674CtBSXuN4YmArUUaKI52hjD4oUtWwzfpE7QpmZeMJoA6XsUgHuz+ccxeHQoApSEK1ZSiDuoXbzg4msrKQQ9o24dmL9fswZNcDoUwk32JOZKTpmv/joDHFY9Pxo/thvIBc/fGMOnen76RS8jrgMNiuFnZSxmJSDUguQ+7IQQ/Uc4oSMTLXRIKzq1PIkmPLzABuDsfD93jKVBJdNwzC133WPWLwTHJnqJi2NEpTpQfMk1gC0qqx5ggfSJC8VMLBaiqzB/qa944jFFgC/MEpPlr0gwNZalSvdJYVOa7Aacj5QFc+clSiGGrijDvCI2kpNiSPzacCd7QdO0ULDKcPcpLB+Vo2LNY7L2gs++lKhxAPnfzignbJyhLGWB8DAdiC/eIshIJ8EwKAuGZQ82PlHoNny5Qavi/NfoDQ8xEMbRw4skeMpUDb2stvMOPOD4LC5iChCkA/jlrBHr5Q4ucGq3WENp4tGXxhSt2WgfnaJCxjFrkKGXNLzjVSSH5kZW6Qrh5Kpas6ZYLaoKVjolQJfrEzD41alMxUPhLKp/UCBDClJFcozb5ZKW/qdn5CMUWTtwWmJFiKhcssbimYekKrw0xXiSkkqZmIYDdmuX5RnCbVSlJBKyTYzPEB1Sxj6fi/atnQhbWyLKSP6SXMYKM4J5E4GblSlilaSQXQoMQwc7uoEDwi0SpgKZpUkX8KgSNeVI4tYZiuYj8sxOYdAXjCZQ0TLX/tJSe1h2gYopftHIllpgzh6FmPI6XHpEtW0JZQlBzuk0Uye3vWi1hkCZKMshSWDVIPIgi/6R5zE7PIUQChVSCAoP2LQGTLMvbiFJCVZqC7D5KMcxcjUAqSRRtN1HekQJklSLpI6H1irhle1kEXUivQwp0ZxNrwvtQoDKGBdKyEKsapBNS3Ww3QqrHLSQxG4OB9IpYLEyAnKpbKUPxVFdz0EbGy65k5Vj8pb6j0htdk0yan2i3ISA9SWAcx9h5cyWpz4dxJIPleKcyeqWaIb/eD5KDiFdo4rOn/pCutCO4hz6RsWamFK1OUzN5UwbnmUaQCb7J2KSRvcORwu/PyhWVIbkbgG+5xDeIw60olryIKZlE+NAUVVZLKIJUWsHMKQNiacMkk5SUA2c37ht0GXgSAAW3kkMWtcFo1OBziWys5J8CgoKIGoBDHWj6UeAOtQUUEKDsDZ21AjOBlIHisIUixI11hNclV0XFxvj0OH2JisntCAlKnuQ5AuQC3kY3NkSwQmYUBZDh3QTwrfoYi6KpMgH+anNQLTVqg9Q1YYSolIqWN79uHOD4yVU5RkehBQ7cXNexhvZmEQHBUVUFiBWruD2puiZOldGomuEGqETAzNMBU3KoI7wiSn4R99Y9biMPLALp6EHypWFv4Lhf8A3eiQ3Sto3i88F96YTjP/ACfn0wcedm4WjgXqbA3Br0DvHEZaVbQghw/eNrlglkpq1kkq6s9o9ZJpMwsQyWOtH8+cZUg0c/KMCarLYFtB8wC4jMya5cJyuapSVEDc2clTcyYUA1KmjUAgHSl7Vvv3R8pBdx7pNDRyHa1z0eBhdgzcfxd930hzI4dwW/DR7VoPVmgboxzBAgEuwFz8rX7WvDcnadGIzcxf5dIQ094ivhYhx5/bQNCio1Lvbed9uMFJ8jZ6CVjBorKTbXsDbo0HmzlqAzEqHwooeZ/QEx5uVMq6y4sQo6bx/iGMPPAtMKbe8HFdL/SJcPQ2UpmOJpQJ+H6vU9Yb2f7ScsJlyjMVoEgnvu5uIkI2lmP8xD7jq305PD+Bxa0KzYecpB3OR6fQxFNFWmeombKmyin20sytQHcHzPbNzEZGz5ZDZA3bzvHnsdtbFTF55k1ajvJcDmLAQyjac+jZFcQzHnWkbcuWTWPATFz5ks+zRkSmtAoHu9QeDQtiZrGqUq10B7pYRTkbQlzPDMSkqFfC6m5EC/IxD2hNCVqTlIS/hBfMOp331iC4soYHHSwRmzAWYkKTzYgNDOLmoUfCZagd5r0Ko86iek0r5H5wRCgfDqbc++tusFjirstYbDElkpWjiFeHmT+kMJxqZaSkKStWpOUA/wBtTHmUz2FFM9NflHFoetxxeEHEsz8E4cylAG2UhXYXbrC0qTkLy5pQeLpP084WlyJyRmQ4F/CTBkbWnJosJWBotIPneMaitJ2jiEioCx0PmIOja0tacqwqXyJA7p+cIYP9okJf+QElQYqlliOTvDOExWFV4lz5huckxAL8AoP8oDOxqVhkEgy5iFE2CgD5hjBJstVM8p2IIKWVUWOhEefxZKllUtKQnQAv5wxg9rTkUJJHEv6xL0KVlbaGLxPupxKkOPdAAJe/8wOtjyEUdibEEo5pM6Uw8SlKGZQ5BTtfRoRk7TlzA02WD0+R+sNS5EhnlzjLO4lx/ap/IxL8zaoPjpleatGclWacdCs+C1wkVvpaENumVNSFYhKfCGRZLDckUpWIG0NtrQ4QpCtygCD/AGkluvaJJnBRzrJUrTM/zpAoOTuyrSG5kskjIDl03Ac9YWnryf7uBjqsSoinhG+El4pIVd1bzbqY9CTqjm2h6RjFhN2G87uG6PjtZPxekScQpS9dzsHTbeHgOY/+35RvjQ5MSlqORSQAaNd6Hc2scExYSBmKQXoHG5nq3bdFTESZcuis3tHr4QE1q7gkqBeh4WjK0pA8Pi5D66RWdDjZIxOILh/CRWpLu96wNZNC5bgXPLhbWHsRh0D31gcrdg8IFNWzPq9+4eLjJMhxaGpGKALAFAapNjp4gXBFTVo7NneIkDNxDJfi2nRoWBFKqvqxHcV7iOlDUU3Q8TVw7/pCAaRMejOXoPxOSKb27iMTFMfdYA1cPXiCG6QRMo8xpuZ77vOBzydaizOXHCsazUdmSQlKWU+tHca66caWg8xJASklQ3BVNdxFQSDQEwvKnpAbKW/FloQNXP1EGJf3WU+qqqa2lHqLwgcn3pcXTY9BTz3xqRicqnADWYsx5+daQfZ2FlzFZVzBJqwcEgnibDm8ObYwUiUoIlzfaqbxN4hm4LYMBubqdCxEU7RUmrm9mcX+7GHRjkG4Be5t3BqT1Iid7NKR4t9QoD/l+n6jIaoSzdRwNmIO9u0FRZrZcwuJ0lrSfyqH0APQCMY0rUsHJYN4a6d4kILh0lyA5YW+vSCy9qEAA1PGvrTziHD0UpDgmJdiz8mMEMvVJY6RyRtNKqLS/R4YEuWr3S3Ak+rH0jm4tHTKzqZQfMwrVv8AkGbe/RopYeaHfIFAailORN4jLCXYu/AgxuWsCylp6D6wYs2SPQTJssAgOhJsRQg8t3J4RXg1lw6T+K9/zQCTPKqEpXwWkv0YmH8NIJdThKRok5uYD25GJpo1piasMmyk96HoQ4gStlA+4S+6p8x60g2J2j48glEuHGdeV+iUxv8AeFtlLBO5H0VXfF77I/RPODINZiQ128XpDMrBV99L8cw46PDqZKVe6Q40dj/aoP2jGKWlGVnKtagMedYlpMbY7s6XMcAJ9oPyqB17iPTL2cDLHt1ZUj3UggnixNBoNeUeD/iRD7nBZNASLFRuephhe3SpTrUCzshLEObVNR58o4vwbtHT5OitjpQzNKSlIsFNmVXeoh+zR53FzGLsVK3lzDs3akxsvsTLBsQAX3vErPWnLcWi4pxJ0wZxqwCCoMbhn8w3rGJk4qDEJPd+8LzXB+ob76GOAgXbpXyjomBqWogEWHCv/dAfZjf5QaWDyffHcg+2+kWpMl0DmEpAUSFjUBx3Nq7oQm4pZ8LEHQOwvGhMQUHNmC/wtQfbcK8IEpZY0pwu9atZ6boqhuwRlqABKSxcW3aF43MqAByNau9C2gaOIVm0cNWjj9OhjaJYu6Ws9xx4iLsgwkGxDsf8cRHZZUElnFwTW7VqOescMsAOnfXRtzG+mkEWRlchtKUzcSWvDZjQDUzEUdi4cs9GBvxaNiQoghOUhxqAdzhzxtCylKF6Uu7uOYoeu6DJnAmr15JHM6EDpGMERhUlzZQA8Kh5h2Lcn7QKZODgFAoalNGbQEd2ghmVs4ADCwLGpY2etmhXEznVQepYbg+ggRqo+nY8Eh3OjkB+paPpmKSWp2II84CtIIJArS3z3RyXISoOKNq7emvCOrUK0R9XYwF/FWjfRiXEUJcwFArUD3SDwsej30iZmAcOquoZm4740VaAltKAH5gnhWIZQ5NXXiBdJvpRw+hvApmY1egoHZ72u5blHcNMUnUVBoQCOqTTQR0YM3FudPOJ4E5IQU2J52Y/PygslKmLV1d261p0jiSlJzJLvTxAM7VOUEnW4jEzFkqYZSdybfpAJTOMypGYpXVindxGah6GGZCkKLjMk1uCRatFDdWJoIYAPyu2+KOCxk2SGQvKk3TQp3HwlxHKxDS5kxLhKgoG4SyVWpb6QlMxCyQCcraFx668YEp3u2oIoz7t0GViV2DLahzFzGYg5qSVAuHFmUOcMfvc8JcpSob2f0hSYJaj43STuGYfUR0yVN4C7WKSQe8P7A6uatVyb0HpVo5MxVWFTwrGpU3MQJnhmCyjQK4K48Y06pZY0TcFg29iaPuvFKgdnf3sJbOhgdTu3+kH8NCg5kvWg7g0IMHM5Ps/iKvizFI4AKNTwYiMYLZhJUUhiqp0A5DQRNowyqfY+IkWzM/EMKNAJUwAuUv2+sNKwMxKXyvwFT+sA8JLM6t1vKBoVJGyQsUSW6NC6sIAXAbh+sUZSVJ949I+n9IlMWSFyyLudzFu4sRAzP8AzL/sEOLYRPOOTvPYxdsKISlcHHcDrpBVSlAAguHcijD6cuEAxEw6tpoB6QzKnHLuNnFKcdDHRgDUt9wtUmnp9YIgkk5iDzN97GsalyAVpTZ2qOLXGsCKrAUcsW+kYxpw/Lv3avURmYDUgb62I5sS8fJU7pNQHbSx/U94JlCgMoKS2992jUjAYQoHM4ILUYsS+p4co4hanINTRxR6G1fSNJl07cu0FSoFALXJpupcagxhOKyqPgcAO4fVqMkhw/XpGLOGfzHTWDyMLmQtT1QBxcW30heYTkLkEILM296vcWgTMYmm24e65cj5iMKZRcsdbq9frBBI8KVO+a4Nd2vWPpUskh1caAA04xVhR8ksQWezGhqNKfODoRlZTlNxZj10sYXkTQo2Zy1L9zBcVOUGDgsKON9SK84HyYLiJqEMAApiXUxryq331jCpmYlqOaAV6ZTTdrGZ00glI8IUA+WncWMP7PwQIUDZKlAgBgrcSCS1tIG0kK2xOZhGJSxJG4EE8cqqsb0MMysBlZS81BVKfEx5tSjQ5KUScqTlBG5+++O4U0UogEgKNXYsaihF3vBbY1QqjHJcBKMqXqWzEcTDk1Yy0WknhnJIpejBmsawDEYhwCEgWIZ3DipfrCs2aQH4wUaxl824MHAH2wj6ZMD0vwhqQ8pKJoyl2oU09Y3jMWJwKigJIeovTjeMqYOwcjZ5UhWaii2WrU4kb4Tm4VUoWYKoC927xMwP7QzZkxAoGFbl/p+kX52LVMcrZkmiQGA1MS009j1oWwoUoMrxJ1KmYdWg5xCE0C2O4gt0fSFzMKgDYAWFo+GGSa2J1ENCij7ZzmN/iS3oflHcDjJ8uiVpmh3ZYKVf3D5iJAnKSvK7nfbyhkY3xZSkHjaMrRLSZcXtVRYFPsybkqBruB06xv8AhJWCr2mQs70bnwicpBuFH1gaMWrNlOVmJ90CJbsyVGDOnJJSlXtGN9O8Yn4zS6t14Uxu1VFQRYEkUppFTZuw0TEpWSoKu4Pk0NpK2IHATFmgQ5Optxhg4L86f7YrowSUtvGvya0a9mn4E9hAppktM//Z"/>
          <p:cNvSpPr>
            <a:spLocks noChangeAspect="1" noChangeArrowheads="1"/>
          </p:cNvSpPr>
          <p:nvPr/>
        </p:nvSpPr>
        <p:spPr bwMode="auto">
          <a:xfrm>
            <a:off x="1679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dirty="0"/>
          </a:p>
        </p:txBody>
      </p:sp>
      <p:sp>
        <p:nvSpPr>
          <p:cNvPr id="44038" name="AutoShape 6" descr="data:image/jpeg;base64,/9j/4AAQSkZJRgABAQAAAQABAAD/2wCEAAkGBxQSEhUUEhQWFhUXGRgXFxgYGBgaGxwbHBoeHBgZGxodHCgkGxwlHhcYITEhJikrLi4uGCAzODMsNygtLiwBCgoKDg0OGhAQGywkHyQsLCw0NCwsLCw0NCwsLCwsLCwsLCwsLCwsLCwsLCwsLCwsLCwsLCwsLCwsLCwsLCwsLP/AABEIAL0BCgMBIgACEQEDEQH/xAAbAAADAQEBAQEAAAAAAAAAAAADBAUCAQYAB//EAEMQAAECBAMGAwYDBwMDBAMAAAECEQADITEEEkEFUWFxgZEiobETMlLB0fBCYuEGFBUjgpLxU3KyM6LSQ2OjwhYkc//EABgBAQEBAQEAAAAAAAAAAAAAAAECAAME/8QAJBEAAgICAgIBBQEAAAAAAAAAAAECERIhMUEDURMiMmFxoUL/2gAMAwEAAhEDEQA/AKOH2XhygkTgCGFcoFedfKEV7PqwWGsCFU3X6RDCjQWOpfpqaQ/J2goCyQxuRU0rXtX6x7MZruzlcX0OSMOkEkqFOfoRFCZiZdQlaSbVl6X3CvSPOz8fmPiLF9Es3aOhYUPCTSv+HMLg3tkqXSPRYNay4Qyi5DDTVx97o+ny1OQpIc38Vt7VN39YgJJop2uwJGm9/nDIxSkgAk10Jo33wicGnobvkPiJqknxADne1A8AVNdmcX11hqVlW5Vlrzfm4r3ePpmzVVqkFqMofr9vFKaWmS4t8CwJTWvP6Pb9I2nFEPbmd/DyhgbKmMDqSbE9fvnBf4ZM3ZgdxB3UjPyRNhInAFViSHepoO8aGa4Ku9ebPDsnZub3mSG1emm694Ym7IQBRb03Za630anHyjfLE2DJqcWo+9VqfflDsjay/dc5dQ79nhdCUhTLJytcBKm3uDUgB+wjMra2UVQkjjfo3IQyprSBWuz0uHxSDUSSTqpmNeR3QZO2paSQUqAq99Da/nHm5X7QFCvdQOCgabtXgs39o5aw0xANw4PoGpb7aPM4S9M7Ka9npxtMFJMozDxBBbWrnhrCU3aa1D3if9yQNdDElOJwy/EFLR/U9ezR9MBUHEwLTVqsePPnEpRT3/RdvgpL/aBYokAaO2tqcID/APkeIr4z1Tu3NSJPsUqvmB5P6V/xHZkhLAJUXfcWHEmOqXj9EPMdw22phU0xWVJUSVAGj8i9xyqYobd2yZIl+zqlQf2lwe1H1jzuJwASglS/GFZcorRnCs1m0haXPZDIWoVqlyxdwab46RjB7Rzk5DisYiYrNMSFP7zPm5hyQTaHR+zmHmD+TPYn8Kw/TQ+seWJykhteUaTPPxKfT7pHbFr7WQ6fKK2P/ZPESw6QmaPyEuOhY9niACoGzGxBH1i3h9v4iWCErKgdbkdFRiftJU0utSStm8QCS2lwPWKU5d7DFMnlCmcgjfGVr59Y3MxExKgCWegdux4QWZLUXdSH3EMfKNnXI4ITWq1W6xpOJXorueMfLlZSApg+4vAlSdzdIckycWjqpigfFA/bN/h42ZSm0++kLmt4U0ZpoMZj7vSOiefj84XU/wDmO9IbDZpEwnX74QeQpzlD1NtfMGvK8PzsPhlJ/kzxe03wnuBx3RnB5sMUzfACl2rmBcEUyipqaXjzuX4O6NSsK6WDb6kHhbU8hB5mzpYAzEOz0JB5Nw48eEAVtiU7pQ8xVaE5SSXswOrM8NyNosRnZCXfKtKiOQBd+ojk3NFpRAjBSgQMyhZwWD7mLfKDLwqUsyTwJeo51BiuJ0lXuzEF71yjsA1uEa/dkKZggtQBOU8dQBx3xGb7GkQ5qQVAe6CbDTvxEcmYYpZyQk3PDX6xe/gCZh8RUk1Zxdxoz6tSJWK2JkV/1Acv4SFDpSKjNcWDiwMyaEKIJzbi5PDcD8u8WZG3paNcqqUfMPOxtEE4bK5WzHQVIHCtOsKTJgemvFzxBa0bCM+TZOJ7SZt2UqvhGbelmo9zRn9BCWIxsnecpccOP+Y8ogmwNC+5+GtzzjDqGig1DT1gXgS4Zn5WXJuIkmz0JYk+jPWu/dCc2YgPY68TQdQYlTC299a+XLpGQgsCASac/J93lHVQrshyHVrQXJo/DypaOCdKLUVxLv1IYRPJO7u4joHDXSLxJsqLMoJcTK6gAuPKEpmII90q4GojMskUy1vr9YIqSo2YPo9YEkuRqwY2iu+ZV9SY0jacz41Nuc/OADDEFiyTxp99oZw2CFSS7fD+rU6RbwXQLIt4DaoUhlhJVZKzRuZcehi1hMLhlTBmARmBDZyWo4NQTUP2Fo8qJAUkhGbMk8NTvfgNIJjMQulFkAOC4DOW00NI88oJvTo6JvsubT2XLlr8EwmUTQm+jhtbv1EfTf2ZKk55K5awah0geY+ceaROXl8RLVJFaV/Tyh39m9qrQooC0gXZRYHrvhSklzYNpgsVIMs5Zicp3KBHYihj6RiVBsyfaI+E+IdHdjxENbV/aZaiUGUlga5vE/yiScaLhOV9ztzqYvdE0iirCSpqFeySQoVyOD2cvCeHmoIylLEUd1fW/SAe0USkgkB/eNG/qixtSdhZt1Mr4kAv1pWK6pk8PQihHs6jKx0UlKuVFAiJ82Z4iQ1fhSAOwZo7OJl3UJiCGCgbbqG3I/rCKprmlekVGLM2ivKx6tSG5AtXjaCrSiZYoSebRGl1BeMlTc4HDehyLH8MVQ5VEGxTVz3pCn7mr/TV2P0heTiCn3VKG5iR1az9Ia/i2I/1pn95+sH1ofpJ3slDSNpUoXSaeu6PgjWhPH/EOLkEMHQWDm7l94PZ26xLkVQ3/E0qAROQsppUEUPDMmnSPpu0nICJhSkBkpKlcbuG3aQpKlseBFHZj619IwlKkuzvwr3aJ0xWkHRNSo+LJxcMP+0j0gs7EoZOQJDAvlKgxpWprApIWS4J5io+6aweXjCAQVCpb3Ul6moLU/WMzBpW2ggD2ftEqB1UFD0hmd+0pmDx5VHepKX70P8AgRGnzXL1A0D05uDHyiSKPwqoud26M/HF7o2TN43FiYXZPQN/mFwsvQ9iYo4fZmImISQgqSXY0POp4iMJ2epBAnJWkly+S4HCj94pNLQVYktf+C8Yzq+3gs3DtdJ9B5wJIFWJEKYUfLxJsocR9nS0bl4kVoQ40LfV4J7BTXV2I86wJGHWqySSLsmvlGtGpmhMSXqX0cCPlzd/J/swsHG8afpHyk6uOv1igGEzh9jz3wQYhLaWpR/nzq0JpVv8iI0eD+sDowxJlBwwBGrPZqmPlHKeII4+YhRm17vGlZiGPp+kYx6HB4+UEjOauWqrrS1CSLRQl4YzUBaEm/xJpd2SS9cxYvHkZeewBPBg0GCVEXynmAdzco4ygvZabKGOUEAock3qltXPkTE1Al1JVV/hceojkvBFX40dVfpAyhKXcksWYBq83jpGuEyXYyMOlTZZieRGWvDK8P7Gw60TCVsEpBd2bdeJCsbqlCRxqfWnlHJuNUseMk+kVTIKn7QzhNWnIpwEtel3pEoy2BJbd5xhczd1rGvauI1sUkGwOFmLV4Eu193XhB9vYKQlQ9ip1fiAqkcifSvSKE/EFWFeWlh+IClPxR5xU6oN+EKbuw5PpylKZ7gM8LlTUI++EVsRNKUpCEsSASQOsT/3kH3gDd2jKRVAlHtzgoPL76R2XJz2DenWsb/h4+I/2mBzQqL6DBCGLHxasH7MQwhyXLQA5S5FL60p0rCZnlqvqbmnFjSDIIOpJrlcBjvoHH+I4NnUZXLW7BJdhTo32Wj4YVYIypVmNqt5DXhxjcxcxDAoejGgLvUNdjXQRw4+YzM9AlmBIpuBppXhE2+jUcGGIUzF/wAz/Wgjjiuazvdx5D5iDqxGZqAaa8g4Bu3CMqce/wCEfiO+9ksTx0jZPszQCXIewYmrByGvW9bUcW6wAIKXoDavHnv6w77NN3J1ehfc5JLGPvepQHecx66Q5hifYXauJlFJTMWAklQBUSCSa5g9a7zHMTtDFLACpqiBmuWooeIbyG0MdmSkhqkj8RLCurMY0JIUfCkGmnqXJ38qxslzRqMYOSFOFzqMSw4aPYekPYWRIslKgfzHzpHNn4FOb3SoHxFlJHEM4JGvNoqz9kLHiQkMQD7wfkQQCT0jl5J9WXFCc/ClJokMdQ/zhScFD/0uqvL7aHJCiJoSsqSFFjoR3g+Kw60TMucgGxZWtnYNHOM32LiiQiUgtnlkE1BADcC1PWAzsNLAB8KiXcAkN1fWKZlErKFhTmg0B3aVBYVeA/ueX30LCHukIJtqCajqI7LyNkOIjKwKFJzJQ+h8Suuu568DuhlGHlZG9mAoa+Kr74VxEw2ZmNLJ8gaQL94WkWIN+I4u3WLtsmqK2DkYZSVCYr2ahYpRmHL3gfKJ00ot8tN8bk7TcJKhmAsCm/E0HzEcl4qpyhJ08aWbkQRE7QgQEv4a8W+RgxSDoka0SPPdGMUFFsssEWJSUv2DUp5wupKw96ca13tBv2YLPQBcA8gn6QopYcNlrVilI6cPIxozFH8R6wJN3U3Cl+dI6RkTaNlND7oeo8I7DSNyMqnKgKA0YU43c8owJYY5TffY/fzjIWapUlxw05bouMkEk+gf7wKeEcb186R8iek/hS/HN9YclYaSQylTEHeaj0hkfs2VB0TAUmocfMRVoLoSRjMpcBLi3iLDoSx5QT+StTslBLuKsToQxoHuGj6bsCcLAK5N+kLq2dMF0qHNJES2l2PJpUpSGASAovR1B66Aq8wTGPahNJqCk6HKVD/l9YGXR7yQQbpU/lqDxEfFOcn2RP8A/NZ/4qND1aNyPBlePUaJIbczeUc/f5vxesLrIBIUkg2KSGb5iM5OflDigtlJRTQJS1NKvDmDQpAcJYnU0p1/SFJc4tRTdKevpB0zTfKSN7ff20eV2uDv3sZllQJYgbwHUDTtHwkDcT5en1jqGtmB5P8ASGV4VVAPEWdgCWHEty7xGUilRlCUhJoQfiSQPk/nAkKSKMd9yfJ2gyZIuZiGO5z8ukLKWjrGuQUgqlOz/fcwRCHDZQ3IQsJgLAAvvcN2g5Qi5JZntruv5xtjoo/uDAFklNnD+orDMyRLCaSgqrkgi/8Aud24RJwa1JFGINcpseIh+VicpP8ALZrsw9WjUwCJx5+BD6HMAw554yva0yuUpTV6LQPMEHu8ZXjBfIcu+j9gTBpcxwCBQuAQRfdz4QUAjOmzrqWxNfeAfi+sUMeszpKFD3kCpFizO5GvunqY5NSpaKEApP5mbprGdmTsqsq1Cth/McnmoNZ9YDCc3ErUEqSVZsrKAzVbXdzheRiph92vKjcaU6mHlYj2a1IWpKZagajNmHwnWsC2Vi1FWUqBBtz0hVGAqxuYMUPwPifs3pGpIJtJSwe6SWe7B/SK3tZqTTKeZtzjk7aMwhvAOKTlI3RRNk6bhiwJlorolBfq1oEcMf8AT/8AjVFDA4wJVlxM1QTpMSUqY/mSdOI7R3bKkpObD4gTUmhAzBSeNmUOX6w4hkShgSKZVD+k/WC/uyjRlHoP/KNy8ZMJTXUJrYvqqtOO6N4jHgt4iCSzJL9TqBGxNkYlYFRB/lh92SW8b/hajdBHJMoehjKcSBT2gzOX8RPyhVW0lEsljWqiQNeJFxBjfBrG/wCFHVJ7ogsvZXxZm/3JjeCdV/EC71HyLHrH3sl5yDNKEMSFGWVdGQ58oKNYMbMuHbhmBfyhJWzJgLoSpB3pUG7P8osy8DmAV+9Bq3lTAaXopj5VjB2akpzDEqdiwMtaT1dTjtCtdiRP4nOlKaYyt9grvaG8LtuWui1+yVuWG7G0Z2pgVISCP5qiWIQpT6+I5soam96jjCk3ZQWQc2UkMRMFjzA9Y6qZDgj0aMKFAEkK/pBHm8SP2i2bJTLzCWAtwAQ47gaUhBOzpsljJnAPUBK6HeyTQ/pAcZtWeUhM0ChBzJDGm8WjZemCgVduYeWrC5lMpSUpZbVJoHfdHisnPsI9EjGZkt4WIdgwf+kxHXh5bnwf936xUJ1plOHoYXhyk+Elt0ZEwl7A60h13gar0Ijz5M9EorlHEFTB7aU9P0gxmFmKqXZVY6mYwbT74weVOlBLKBfew+cZyZNIGMaw91J4t9S3cR1UsqGZMs118JB5BmjYnStxPRH0hrDYxKaFKik3FKcQAILsmjEkLCaynS9Sw9dIopXIAbyIT81RydmlnwS5ikH8xI7NAMQWAKEkvfxkEdIw2cmYITT/AC1EAXdQIHIAk/4gkvYqx/6nlCgWrVHeZbzjAC/y9VA+kYxRVsdRLqmv0+bwZezkD3F5Oo/SJKJwTdYbUAH5tGiUKPhPcD/yEJOyvLk/HNzDLlbwgNyGsSEy/ZK8PtAH/wBRIB4tljvs0t73l+phmQhKnSSoqylSTvYPlD0c2s0A2O4pKVoCyHp8QDDWtqGJEqQolRQHSw92bKzJ3uHDh7WilsaclaihRIYOCa8CKNx7QpPxZlzFBQNCRdLEaEeC0a6NTH/ZompdQYgBy4en+0kvyhfJhxUqJbf7Q96QBRl+3AXLCkrZlFjfVm+cLqlS0qKVpY5iKKLc72qIpMmiinEYQWy/2r/8YHNnYdDiXPmIev8ALUsBzqwYQrMwg/AgKp8T/wD3+UCXOXLBGUB7uFfONv8AJtDKJ2FHvFSuY+ZrBpM3C6J7pESs5JZKUq5JeKGFC0qBVLYN4mSBSuuhpG2bQb9+w7lKZTtwA9WjX77J/wBJPUiJMzFDMQGPFk/SAKxxJ8IHUt6QMxflbRlJPhlpH9TfKDK2sk/l5EH1EedGOIFb81H5xyZtJh86xJWi5OxauhsfCfRMLHF71NzS/wAokp2k9z1o0Ymz5nE8jWMa7LCMcPiB/pPlGVqRMPvA/wBJzcgXrHnztFehX3/WOo2jMV+Ip4ljFUzFZciv8slTaFwe2vSAlbqOd67jUd4lTMZNvnpyggxaqFTG9woPpoYcRsLicIg/YBjH7r+bzMHk7ZUKJRIbwisvMaElyHq9jvDQwjaM8AMiSzU//WfzaKVkNoWw8sqLZK9A3UxQGz5aS02ZlO4BR82aElSxcBn3UpGkLKPdmFI6t5COVHVsqzMEUpZMlJBqFBQUpuSx6AR9s9TEomKUkKBAzSwkg6EKES/3srUXAWfiZn4BiCTDEnGqSWCpiDucKHZTNG2BTw0haCAqatKgXcPMSR/tFe4j12GmhaAQ7clJPYsY8POx3tf+oJUxtfcV3oI1LnZKpVOlcjnREsKPX7WwCZ8tSTfSPD/u06U6ciyQWoFMRvDCtYrYfbM2mWbKmt8XgV8o3jwrFDxJVKUmrvmSX5GsKdGqhUYCcz5srj4VO25jDMnZ6iBnUXD8/WJcmcuUChC0itRY/wDeAfWPpmOnipUoC9UBu4BjNs1FU7KTuHFwI2NmJ3DsIko2mSKrD7t/cD1j4bRWzOVE7ikEW3GtuMY1MsDZ6ePQtEudJMqa+ZI1S7ktq7JhkbexMoAJcBgT/LSVf1EJvEufj5k9Slq8Sk1Is4sTlHChMYw9iUJlTUrCwyxnTRR8JO8DgYY2xhkrSFgjmxsbacYUkKSrDrSpGdUg5kOSCJaiy7XY1L2Coe2Ti0TUZCnK2gJLpN7ne0SxTJaJYmS8uYOioNbdoYmIzhE5OVakUmA2IZvxAafKFTOTJml0GhIPi/SHZC0S5hSxyzAKu4IPBob7FxF1qo1EvYtVtzi8ZXOmADKolIqrMAryIeH8Vs5KXypPDxFuztE6cSlW4ENweLTObRhONmAEyhld3KH13gFvKJk/EzifESocSetN8UpkxAmAFhmd3YW0BvFOdKdByvyIQoDcWKD2vWNbNo8jMDtUA8Xt9vHErd2GYDdv7RWnYVJfMK8NPOFp+BK/+igjL7+XOoVsSC7WMKaNQsjEKNP+QA7EmMzZxIIJANhUF+gjU/Zik5SoKat2Nr0uDXcIEuUkGhY7mcdtI2jGPbkDRzRmbsYakzlAAlmLd+TUhUZgWdudU/UQX2n+LjzjMw4tIUHNDwBB674CtBSXuN4YmArUUaKI52hjD4oUtWwzfpE7QpmZeMJoA6XsUgHuz+ccxeHQoApSEK1ZSiDuoXbzg4msrKQQ9o24dmL9fswZNcDoUwk32JOZKTpmv/joDHFY9Pxo/thvIBc/fGMOnen76RS8jrgMNiuFnZSxmJSDUguQ+7IQQ/Uc4oSMTLXRIKzq1PIkmPLzABuDsfD93jKVBJdNwzC133WPWLwTHJnqJi2NEpTpQfMk1gC0qqx5ggfSJC8VMLBaiqzB/qa944jFFgC/MEpPlr0gwNZalSvdJYVOa7Aacj5QFc+clSiGGrijDvCI2kpNiSPzacCd7QdO0ULDKcPcpLB+Vo2LNY7L2gs++lKhxAPnfzignbJyhLGWB8DAdiC/eIshIJ8EwKAuGZQ82PlHoNny5Qavi/NfoDQ8xEMbRw4skeMpUDb2stvMOPOD4LC5iChCkA/jlrBHr5Q4ucGq3WENp4tGXxhSt2WgfnaJCxjFrkKGXNLzjVSSH5kZW6Qrh5Kpas6ZYLaoKVjolQJfrEzD41alMxUPhLKp/UCBDClJFcozb5ZKW/qdn5CMUWTtwWmJFiKhcssbimYekKrw0xXiSkkqZmIYDdmuX5RnCbVSlJBKyTYzPEB1Sxj6fi/atnQhbWyLKSP6SXMYKM4J5E4GblSlilaSQXQoMQwc7uoEDwi0SpgKZpUkX8KgSNeVI4tYZiuYj8sxOYdAXjCZQ0TLX/tJSe1h2gYopftHIllpgzh6FmPI6XHpEtW0JZQlBzuk0Uye3vWi1hkCZKMshSWDVIPIgi/6R5zE7PIUQChVSCAoP2LQGTLMvbiFJCVZqC7D5KMcxcjUAqSRRtN1HekQJklSLpI6H1irhle1kEXUivQwp0ZxNrwvtQoDKGBdKyEKsapBNS3Ww3QqrHLSQxG4OB9IpYLEyAnKpbKUPxVFdz0EbGy65k5Vj8pb6j0htdk0yan2i3ISA9SWAcx9h5cyWpz4dxJIPleKcyeqWaIb/eD5KDiFdo4rOn/pCutCO4hz6RsWamFK1OUzN5UwbnmUaQCb7J2KSRvcORwu/PyhWVIbkbgG+5xDeIw60olryIKZlE+NAUVVZLKIJUWsHMKQNiacMkk5SUA2c37ht0GXgSAAW3kkMWtcFo1OBziWys5J8CgoKIGoBDHWj6UeAOtQUUEKDsDZ21AjOBlIHisIUixI11hNclV0XFxvj0OH2JisntCAlKnuQ5AuQC3kY3NkSwQmYUBZDh3QTwrfoYi6KpMgH+anNQLTVqg9Q1YYSolIqWN79uHOD4yVU5RkehBQ7cXNexhvZmEQHBUVUFiBWruD2puiZOldGomuEGqETAzNMBU3KoI7wiSn4R99Y9biMPLALp6EHypWFv4Lhf8A3eiQ3Sto3i88F96YTjP/ACfn0wcedm4WjgXqbA3Br0DvHEZaVbQghw/eNrlglkpq1kkq6s9o9ZJpMwsQyWOtH8+cZUg0c/KMCarLYFtB8wC4jMya5cJyuapSVEDc2clTcyYUA1KmjUAgHSl7Vvv3R8pBdx7pNDRyHa1z0eBhdgzcfxd930hzI4dwW/DR7VoPVmgboxzBAgEuwFz8rX7WvDcnadGIzcxf5dIQ094ivhYhx5/bQNCio1Lvbed9uMFJ8jZ6CVjBorKTbXsDbo0HmzlqAzEqHwooeZ/QEx5uVMq6y4sQo6bx/iGMPPAtMKbe8HFdL/SJcPQ2UpmOJpQJ+H6vU9Yb2f7ScsJlyjMVoEgnvu5uIkI2lmP8xD7jq305PD+Bxa0KzYecpB3OR6fQxFNFWmeombKmyin20sytQHcHzPbNzEZGz5ZDZA3bzvHnsdtbFTF55k1ajvJcDmLAQyjac+jZFcQzHnWkbcuWTWPATFz5ks+zRkSmtAoHu9QeDQtiZrGqUq10B7pYRTkbQlzPDMSkqFfC6m5EC/IxD2hNCVqTlIS/hBfMOp331iC4soYHHSwRmzAWYkKTzYgNDOLmoUfCZagd5r0Ko86iek0r5H5wRCgfDqbc++tusFjirstYbDElkpWjiFeHmT+kMJxqZaSkKStWpOUA/wBtTHmUz2FFM9NflHFoetxxeEHEsz8E4cylAG2UhXYXbrC0qTkLy5pQeLpP084WlyJyRmQ4F/CTBkbWnJosJWBotIPneMaitJ2jiEioCx0PmIOja0tacqwqXyJA7p+cIYP9okJf+QElQYqlliOTvDOExWFV4lz5huckxAL8AoP8oDOxqVhkEgy5iFE2CgD5hjBJstVM8p2IIKWVUWOhEefxZKllUtKQnQAv5wxg9rTkUJJHEv6xL0KVlbaGLxPupxKkOPdAAJe/8wOtjyEUdibEEo5pM6Uw8SlKGZQ5BTtfRoRk7TlzA02WD0+R+sNS5EhnlzjLO4lx/ap/IxL8zaoPjpleatGclWacdCs+C1wkVvpaENumVNSFYhKfCGRZLDckUpWIG0NtrQ4QpCtygCD/AGkluvaJJnBRzrJUrTM/zpAoOTuyrSG5kskjIDl03Ac9YWnryf7uBjqsSoinhG+El4pIVd1bzbqY9CTqjm2h6RjFhN2G87uG6PjtZPxekScQpS9dzsHTbeHgOY/+35RvjQ5MSlqORSQAaNd6Hc2scExYSBmKQXoHG5nq3bdFTESZcuis3tHr4QE1q7gkqBeh4WjK0pA8Pi5D66RWdDjZIxOILh/CRWpLu96wNZNC5bgXPLhbWHsRh0D31gcrdg8IFNWzPq9+4eLjJMhxaGpGKALAFAapNjp4gXBFTVo7NneIkDNxDJfi2nRoWBFKqvqxHcV7iOlDUU3Q8TVw7/pCAaRMejOXoPxOSKb27iMTFMfdYA1cPXiCG6QRMo8xpuZ77vOBzydaizOXHCsazUdmSQlKWU+tHca66caWg8xJASklQ3BVNdxFQSDQEwvKnpAbKW/FloQNXP1EGJf3WU+qqqa2lHqLwgcn3pcXTY9BTz3xqRicqnADWYsx5+daQfZ2FlzFZVzBJqwcEgnibDm8ObYwUiUoIlzfaqbxN4hm4LYMBubqdCxEU7RUmrm9mcX+7GHRjkG4Be5t3BqT1Iid7NKR4t9QoD/l+n6jIaoSzdRwNmIO9u0FRZrZcwuJ0lrSfyqH0APQCMY0rUsHJYN4a6d4kILh0lyA5YW+vSCy9qEAA1PGvrTziHD0UpDgmJdiz8mMEMvVJY6RyRtNKqLS/R4YEuWr3S3Ak+rH0jm4tHTKzqZQfMwrVv8AkGbe/RopYeaHfIFAailORN4jLCXYu/AgxuWsCylp6D6wYs2SPQTJssAgOhJsRQg8t3J4RXg1lw6T+K9/zQCTPKqEpXwWkv0YmH8NIJdThKRok5uYD25GJpo1piasMmyk96HoQ4gStlA+4S+6p8x60g2J2j48glEuHGdeV+iUxv8AeFtlLBO5H0VXfF77I/RPODINZiQ128XpDMrBV99L8cw46PDqZKVe6Q40dj/aoP2jGKWlGVnKtagMedYlpMbY7s6XMcAJ9oPyqB17iPTL2cDLHt1ZUj3UggnixNBoNeUeD/iRD7nBZNASLFRuephhe3SpTrUCzshLEObVNR58o4vwbtHT5OitjpQzNKSlIsFNmVXeoh+zR53FzGLsVK3lzDs3akxsvsTLBsQAX3vErPWnLcWi4pxJ0wZxqwCCoMbhn8w3rGJk4qDEJPd+8LzXB+ob76GOAgXbpXyjomBqWogEWHCv/dAfZjf5QaWDyffHcg+2+kWpMl0DmEpAUSFjUBx3Nq7oQm4pZ8LEHQOwvGhMQUHNmC/wtQfbcK8IEpZY0pwu9atZ6boqhuwRlqABKSxcW3aF43MqAByNau9C2gaOIVm0cNWjj9OhjaJYu6Ws9xx4iLsgwkGxDsf8cRHZZUElnFwTW7VqOescMsAOnfXRtzG+mkEWRlchtKUzcSWvDZjQDUzEUdi4cs9GBvxaNiQoghOUhxqAdzhzxtCylKF6Uu7uOYoeu6DJnAmr15JHM6EDpGMERhUlzZQA8Kh5h2Lcn7QKZODgFAoalNGbQEd2ghmVs4ADCwLGpY2etmhXEznVQepYbg+ggRqo+nY8Eh3OjkB+paPpmKSWp2II84CtIIJArS3z3RyXISoOKNq7emvCOrUK0R9XYwF/FWjfRiXEUJcwFArUD3SDwsej30iZmAcOquoZm4740VaAltKAH5gnhWIZQ5NXXiBdJvpRw+hvApmY1egoHZ72u5blHcNMUnUVBoQCOqTTQR0YM3FudPOJ4E5IQU2J52Y/PygslKmLV1d261p0jiSlJzJLvTxAM7VOUEnW4jEzFkqYZSdybfpAJTOMypGYpXVindxGah6GGZCkKLjMk1uCRatFDdWJoIYAPyu2+KOCxk2SGQvKk3TQp3HwlxHKxDS5kxLhKgoG4SyVWpb6QlMxCyQCcraFx668YEp3u2oIoz7t0GViV2DLahzFzGYg5qSVAuHFmUOcMfvc8JcpSob2f0hSYJaj43STuGYfUR0yVN4C7WKSQe8P7A6uatVyb0HpVo5MxVWFTwrGpU3MQJnhmCyjQK4K48Y06pZY0TcFg29iaPuvFKgdnf3sJbOhgdTu3+kH8NCg5kvWg7g0IMHM5Ps/iKvizFI4AKNTwYiMYLZhJUUhiqp0A5DQRNowyqfY+IkWzM/EMKNAJUwAuUv2+sNKwMxKXyvwFT+sA8JLM6t1vKBoVJGyQsUSW6NC6sIAXAbh+sUZSVJ949I+n9IlMWSFyyLudzFu4sRAzP8AzL/sEOLYRPOOTvPYxdsKISlcHHcDrpBVSlAAguHcijD6cuEAxEw6tpoB6QzKnHLuNnFKcdDHRgDUt9wtUmnp9YIgkk5iDzN97GsalyAVpTZ2qOLXGsCKrAUcsW+kYxpw/Lv3avURmYDUgb62I5sS8fJU7pNQHbSx/U94JlCgMoKS2992jUjAYQoHM4ILUYsS+p4co4hanINTRxR6G1fSNJl07cu0FSoFALXJpupcagxhOKyqPgcAO4fVqMkhw/XpGLOGfzHTWDyMLmQtT1QBxcW30heYTkLkEILM296vcWgTMYmm24e65cj5iMKZRcsdbq9frBBI8KVO+a4Nd2vWPpUskh1caAA04xVhR8ksQWezGhqNKfODoRlZTlNxZj10sYXkTQo2Zy1L9zBcVOUGDgsKON9SK84HyYLiJqEMAApiXUxryq331jCpmYlqOaAV6ZTTdrGZ00glI8IUA+WncWMP7PwQIUDZKlAgBgrcSCS1tIG0kK2xOZhGJSxJG4EE8cqqsb0MMysBlZS81BVKfEx5tSjQ5KUScqTlBG5+++O4U0UogEgKNXYsaihF3vBbY1QqjHJcBKMqXqWzEcTDk1Yy0WknhnJIpejBmsawDEYhwCEgWIZ3DipfrCs2aQH4wUaxl824MHAH2wj6ZMD0vwhqQ8pKJoyl2oU09Y3jMWJwKigJIeovTjeMqYOwcjZ5UhWaii2WrU4kb4Tm4VUoWYKoC927xMwP7QzZkxAoGFbl/p+kX52LVMcrZkmiQGA1MS009j1oWwoUoMrxJ1KmYdWg5xCE0C2O4gt0fSFzMKgDYAWFo+GGSa2J1ENCij7ZzmN/iS3oflHcDjJ8uiVpmh3ZYKVf3D5iJAnKSvK7nfbyhkY3xZSkHjaMrRLSZcXtVRYFPsybkqBruB06xv8AhJWCr2mQs70bnwicpBuFH1gaMWrNlOVmJ90CJbsyVGDOnJJSlXtGN9O8Yn4zS6t14Uxu1VFQRYEkUppFTZuw0TEpWSoKu4Pk0NpK2IHATFmgQ5Optxhg4L86f7YrowSUtvGvya0a9mn4E9hAppktM//Z"/>
          <p:cNvSpPr>
            <a:spLocks noChangeAspect="1" noChangeArrowheads="1"/>
          </p:cNvSpPr>
          <p:nvPr/>
        </p:nvSpPr>
        <p:spPr bwMode="auto">
          <a:xfrm>
            <a:off x="1679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dirty="0"/>
          </a:p>
        </p:txBody>
      </p:sp>
      <p:sp>
        <p:nvSpPr>
          <p:cNvPr id="44040" name="AutoShape 8" descr="https://encrypted-tbn3.gstatic.com/images?q=tbn:ANd9GcQOfbhUZ7VAZPuwTlCPV-BwLX9vwh3UK1QVo1HW2DdM82XJH1qf"/>
          <p:cNvSpPr>
            <a:spLocks noChangeAspect="1" noChangeArrowheads="1"/>
          </p:cNvSpPr>
          <p:nvPr/>
        </p:nvSpPr>
        <p:spPr bwMode="auto">
          <a:xfrm>
            <a:off x="1587500" y="-136525"/>
            <a:ext cx="304800" cy="304800"/>
          </a:xfrm>
          <a:prstGeom prst="rect">
            <a:avLst/>
          </a:prstGeom>
          <a:noFill/>
        </p:spPr>
        <p:txBody>
          <a:bodyPr vert="horz" wrap="square" lIns="91440" tIns="45720" rIns="91440" bIns="45720" numCol="1" anchor="t" anchorCtr="0" compatLnSpc="1">
            <a:prstTxWarp prst="textNoShape">
              <a:avLst/>
            </a:prstTxWarp>
          </a:bodyPr>
          <a:lstStyle/>
          <a:p>
            <a:endParaRPr lang="en-US" dirty="0"/>
          </a:p>
        </p:txBody>
      </p:sp>
      <p:sp>
        <p:nvSpPr>
          <p:cNvPr id="15" name="TextBox 14">
            <a:extLst>
              <a:ext uri="{FF2B5EF4-FFF2-40B4-BE49-F238E27FC236}">
                <a16:creationId xmlns:a16="http://schemas.microsoft.com/office/drawing/2014/main" id="{964E67B6-B3A2-4848-829E-841FDDB5E3AA}"/>
              </a:ext>
            </a:extLst>
          </p:cNvPr>
          <p:cNvSpPr txBox="1"/>
          <p:nvPr/>
        </p:nvSpPr>
        <p:spPr>
          <a:xfrm>
            <a:off x="304800" y="307120"/>
            <a:ext cx="11582400" cy="461665"/>
          </a:xfrm>
          <a:prstGeom prst="rect">
            <a:avLst/>
          </a:prstGeom>
          <a:solidFill>
            <a:schemeClr val="accent2">
              <a:lumMod val="50000"/>
            </a:schemeClr>
          </a:solidFill>
        </p:spPr>
        <p:txBody>
          <a:bodyPr wrap="square" rtlCol="0">
            <a:spAutoFit/>
          </a:bodyPr>
          <a:lstStyle/>
          <a:p>
            <a:pPr algn="ctr"/>
            <a:r>
              <a:rPr lang="en-US" sz="2400" b="1" dirty="0">
                <a:solidFill>
                  <a:schemeClr val="bg1"/>
                </a:solidFill>
                <a:latin typeface="+mj-lt"/>
              </a:rPr>
              <a:t>Opportunity for Public Comment - PFC Application 4  </a:t>
            </a:r>
          </a:p>
        </p:txBody>
      </p:sp>
      <p:sp>
        <p:nvSpPr>
          <p:cNvPr id="16" name="TextBox 15">
            <a:extLst>
              <a:ext uri="{FF2B5EF4-FFF2-40B4-BE49-F238E27FC236}">
                <a16:creationId xmlns:a16="http://schemas.microsoft.com/office/drawing/2014/main" id="{01482ADD-8EAD-473A-A4CD-FB9A67524B18}"/>
              </a:ext>
            </a:extLst>
          </p:cNvPr>
          <p:cNvSpPr txBox="1"/>
          <p:nvPr/>
        </p:nvSpPr>
        <p:spPr>
          <a:xfrm>
            <a:off x="4383291" y="5972890"/>
            <a:ext cx="3425421" cy="461665"/>
          </a:xfrm>
          <a:prstGeom prst="rect">
            <a:avLst/>
          </a:prstGeom>
          <a:noFill/>
        </p:spPr>
        <p:txBody>
          <a:bodyPr wrap="square">
            <a:spAutoFit/>
          </a:bodyPr>
          <a:lstStyle/>
          <a:p>
            <a:pPr algn="ctr">
              <a:defRPr/>
            </a:pPr>
            <a:r>
              <a:rPr lang="en-US" sz="2400" b="1" cap="small" dirty="0">
                <a:latin typeface="+mj-lt"/>
                <a:ea typeface="ＭＳ Ｐゴシック" charset="0"/>
                <a:cs typeface="Arial" panose="020B0604020202020204" pitchFamily="34" charset="0"/>
              </a:rPr>
              <a:t>June 27, 2025</a:t>
            </a:r>
            <a:endParaRPr lang="en-US" sz="2000" b="1" cap="small" dirty="0">
              <a:latin typeface="+mj-lt"/>
              <a:ea typeface="ＭＳ Ｐゴシック" charset="0"/>
              <a:cs typeface="Arial" panose="020B0604020202020204" pitchFamily="34" charset="0"/>
            </a:endParaRPr>
          </a:p>
        </p:txBody>
      </p:sp>
      <p:pic>
        <p:nvPicPr>
          <p:cNvPr id="11" name="Picture 10" descr="Tucson Airport Authority logo">
            <a:extLst>
              <a:ext uri="{FF2B5EF4-FFF2-40B4-BE49-F238E27FC236}">
                <a16:creationId xmlns:a16="http://schemas.microsoft.com/office/drawing/2014/main" id="{E290898A-334C-476D-A7DE-B3AB1D800AAA}"/>
              </a:ext>
            </a:extLst>
          </p:cNvPr>
          <p:cNvPicPr/>
          <p:nvPr/>
        </p:nvPicPr>
        <p:blipFill rotWithShape="1">
          <a:blip r:embed="rId3">
            <a:extLst>
              <a:ext uri="{28A0092B-C50C-407E-A947-70E740481C1C}">
                <a14:useLocalDpi xmlns:a14="http://schemas.microsoft.com/office/drawing/2010/main" val="0"/>
              </a:ext>
            </a:extLst>
          </a:blip>
          <a:srcRect t="25735" b="28677"/>
          <a:stretch/>
        </p:blipFill>
        <p:spPr bwMode="auto">
          <a:xfrm>
            <a:off x="4724400" y="784611"/>
            <a:ext cx="2514600" cy="1116874"/>
          </a:xfrm>
          <a:prstGeom prst="rect">
            <a:avLst/>
          </a:prstGeom>
          <a:noFill/>
          <a:ln>
            <a:noFill/>
          </a:ln>
          <a:extLst>
            <a:ext uri="{53640926-AAD7-44D8-BBD7-CCE9431645EC}">
              <a14:shadowObscured xmlns:a14="http://schemas.microsoft.com/office/drawing/2010/main"/>
            </a:ext>
          </a:extLst>
        </p:spPr>
      </p:pic>
      <p:pic>
        <p:nvPicPr>
          <p:cNvPr id="12" name="Picture 11" descr="A picture containing text, sky, outdoor, road&#10;&#10;Description automatically generated">
            <a:extLst>
              <a:ext uri="{FF2B5EF4-FFF2-40B4-BE49-F238E27FC236}">
                <a16:creationId xmlns:a16="http://schemas.microsoft.com/office/drawing/2014/main" id="{7714C4E6-5BC7-4984-95C3-F7F4FC107ABB}"/>
              </a:ext>
            </a:extLst>
          </p:cNvPr>
          <p:cNvPicPr/>
          <p:nvPr/>
        </p:nvPicPr>
        <p:blipFill>
          <a:blip r:embed="rId4"/>
          <a:stretch>
            <a:fillRect/>
          </a:stretch>
        </p:blipFill>
        <p:spPr>
          <a:xfrm>
            <a:off x="3408485" y="2090803"/>
            <a:ext cx="5372101" cy="3676942"/>
          </a:xfrm>
          <a:prstGeom prst="rect">
            <a:avLst/>
          </a:prstGeom>
        </p:spPr>
      </p:pic>
      <p:pic>
        <p:nvPicPr>
          <p:cNvPr id="2" name="Picture 1" descr="Frasca Logo PNG (NEW)">
            <a:extLst>
              <a:ext uri="{FF2B5EF4-FFF2-40B4-BE49-F238E27FC236}">
                <a16:creationId xmlns:a16="http://schemas.microsoft.com/office/drawing/2014/main" id="{B2B1D129-841A-E771-F1C8-9F619EAC84DA}"/>
              </a:ext>
            </a:extLst>
          </p:cNvPr>
          <p:cNvPicPr/>
          <p:nvPr/>
        </p:nvPicPr>
        <p:blipFill>
          <a:blip r:embed="rId5" cstate="print"/>
          <a:stretch>
            <a:fillRect/>
          </a:stretch>
        </p:blipFill>
        <p:spPr bwMode="auto">
          <a:xfrm>
            <a:off x="357598" y="6333605"/>
            <a:ext cx="3069404" cy="400110"/>
          </a:xfrm>
          <a:prstGeom prst="rect">
            <a:avLst/>
          </a:prstGeom>
        </p:spPr>
      </p:pic>
    </p:spTree>
    <p:extLst>
      <p:ext uri="{BB962C8B-B14F-4D97-AF65-F5344CB8AC3E}">
        <p14:creationId xmlns:p14="http://schemas.microsoft.com/office/powerpoint/2010/main" val="380190143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D50B19-2495-1571-7C16-D20E51B45ADE}"/>
              </a:ext>
            </a:extLst>
          </p:cNvPr>
          <p:cNvSpPr>
            <a:spLocks noGrp="1"/>
          </p:cNvSpPr>
          <p:nvPr>
            <p:ph type="title"/>
          </p:nvPr>
        </p:nvSpPr>
        <p:spPr/>
        <p:txBody>
          <a:bodyPr/>
          <a:lstStyle/>
          <a:p>
            <a:r>
              <a:rPr lang="en-US" dirty="0"/>
              <a:t>Overview</a:t>
            </a:r>
          </a:p>
        </p:txBody>
      </p:sp>
      <p:sp>
        <p:nvSpPr>
          <p:cNvPr id="4" name="Content Placeholder 3">
            <a:extLst>
              <a:ext uri="{FF2B5EF4-FFF2-40B4-BE49-F238E27FC236}">
                <a16:creationId xmlns:a16="http://schemas.microsoft.com/office/drawing/2014/main" id="{4849AA6C-312F-D177-D336-40C9B76C1918}"/>
              </a:ext>
            </a:extLst>
          </p:cNvPr>
          <p:cNvSpPr>
            <a:spLocks noGrp="1"/>
          </p:cNvSpPr>
          <p:nvPr>
            <p:ph idx="1"/>
          </p:nvPr>
        </p:nvSpPr>
        <p:spPr>
          <a:xfrm>
            <a:off x="609600" y="1104900"/>
            <a:ext cx="5867400" cy="5446711"/>
          </a:xfrm>
        </p:spPr>
        <p:txBody>
          <a:bodyPr/>
          <a:lstStyle/>
          <a:p>
            <a:pPr>
              <a:tabLst>
                <a:tab pos="457200" algn="l"/>
              </a:tabLst>
            </a:pPr>
            <a:r>
              <a:rPr lang="en-US" sz="2000" dirty="0"/>
              <a:t>The Tucson Airport Authority (the Authority) intends to submit a new PFC application to the Federal Aviation Administration (FAA) for three projects at Tucson International Airport (the Airport) </a:t>
            </a:r>
          </a:p>
          <a:p>
            <a:pPr>
              <a:tabLst>
                <a:tab pos="457200" algn="l"/>
              </a:tabLst>
            </a:pPr>
            <a:r>
              <a:rPr lang="en-US" sz="2000" dirty="0"/>
              <a:t>The PFC Level for the Airport will continue to be $4.50 per eligible enplaned passenger</a:t>
            </a:r>
          </a:p>
          <a:p>
            <a:pPr>
              <a:tabLst>
                <a:tab pos="457200" algn="l"/>
              </a:tabLst>
            </a:pPr>
            <a:r>
              <a:rPr lang="en-US" sz="2000" dirty="0"/>
              <a:t>Estimated charge effective date for the application: November 1, 2025</a:t>
            </a:r>
          </a:p>
          <a:p>
            <a:pPr>
              <a:tabLst>
                <a:tab pos="457200" algn="l"/>
              </a:tabLst>
            </a:pPr>
            <a:r>
              <a:rPr lang="en-US" sz="2000" dirty="0"/>
              <a:t>Estimated charge expiration date for the application: April 1, 2028</a:t>
            </a:r>
          </a:p>
          <a:p>
            <a:pPr>
              <a:tabLst>
                <a:tab pos="457200" algn="l"/>
              </a:tabLst>
            </a:pPr>
            <a:r>
              <a:rPr lang="en-US" sz="2000" dirty="0"/>
              <a:t>Estimated total PFC revenue to be collected under application is $24,492,573; seeking an estimated $16,306,333 of PFC use authority</a:t>
            </a:r>
          </a:p>
          <a:p>
            <a:pPr>
              <a:tabLst>
                <a:tab pos="457200" algn="l"/>
              </a:tabLst>
            </a:pPr>
            <a:endParaRPr lang="en-US" sz="2000" dirty="0"/>
          </a:p>
          <a:p>
            <a:pPr>
              <a:tabLst>
                <a:tab pos="457200" algn="l"/>
              </a:tabLst>
            </a:pPr>
            <a:endParaRPr lang="en-US" sz="2000" dirty="0"/>
          </a:p>
          <a:p>
            <a:pPr>
              <a:tabLst>
                <a:tab pos="457200" algn="l"/>
              </a:tabLst>
            </a:pPr>
            <a:endParaRPr lang="en-US" sz="2000" dirty="0">
              <a:highlight>
                <a:srgbClr val="FFFF00"/>
              </a:highlight>
            </a:endParaRPr>
          </a:p>
          <a:p>
            <a:pPr>
              <a:tabLst>
                <a:tab pos="457200" algn="l"/>
              </a:tabLst>
            </a:pPr>
            <a:endParaRPr lang="en-US" sz="2000" dirty="0"/>
          </a:p>
          <a:p>
            <a:pPr marL="914400" lvl="2" indent="0">
              <a:buNone/>
            </a:pPr>
            <a:endParaRPr lang="en-US" sz="1400" dirty="0"/>
          </a:p>
        </p:txBody>
      </p:sp>
      <p:graphicFrame>
        <p:nvGraphicFramePr>
          <p:cNvPr id="3" name="Table 2">
            <a:extLst>
              <a:ext uri="{FF2B5EF4-FFF2-40B4-BE49-F238E27FC236}">
                <a16:creationId xmlns:a16="http://schemas.microsoft.com/office/drawing/2014/main" id="{49F714A8-D793-9C3E-8DEC-20B6840451AD}"/>
              </a:ext>
            </a:extLst>
          </p:cNvPr>
          <p:cNvGraphicFramePr>
            <a:graphicFrameLocks noGrp="1"/>
          </p:cNvGraphicFramePr>
          <p:nvPr>
            <p:extLst>
              <p:ext uri="{D42A27DB-BD31-4B8C-83A1-F6EECF244321}">
                <p14:modId xmlns:p14="http://schemas.microsoft.com/office/powerpoint/2010/main" val="2712500205"/>
              </p:ext>
            </p:extLst>
          </p:nvPr>
        </p:nvGraphicFramePr>
        <p:xfrm>
          <a:off x="6853669" y="1295400"/>
          <a:ext cx="4199661" cy="3749040"/>
        </p:xfrm>
        <a:graphic>
          <a:graphicData uri="http://schemas.openxmlformats.org/drawingml/2006/table">
            <a:tbl>
              <a:tblPr firstRow="1" bandRow="1">
                <a:tableStyleId>{5C22544A-7EE6-4342-B048-85BDC9FD1C3A}</a:tableStyleId>
              </a:tblPr>
              <a:tblGrid>
                <a:gridCol w="2575794">
                  <a:extLst>
                    <a:ext uri="{9D8B030D-6E8A-4147-A177-3AD203B41FA5}">
                      <a16:colId xmlns:a16="http://schemas.microsoft.com/office/drawing/2014/main" val="3658645249"/>
                    </a:ext>
                  </a:extLst>
                </a:gridCol>
                <a:gridCol w="1623867">
                  <a:extLst>
                    <a:ext uri="{9D8B030D-6E8A-4147-A177-3AD203B41FA5}">
                      <a16:colId xmlns:a16="http://schemas.microsoft.com/office/drawing/2014/main" val="4228910663"/>
                    </a:ext>
                  </a:extLst>
                </a:gridCol>
              </a:tblGrid>
              <a:tr h="416560">
                <a:tc>
                  <a:txBody>
                    <a:bodyPr/>
                    <a:lstStyle/>
                    <a:p>
                      <a:endParaRPr lang="en-US" dirty="0"/>
                    </a:p>
                  </a:txBody>
                  <a:tcPr/>
                </a:tc>
                <a:tc>
                  <a:txBody>
                    <a:bodyPr/>
                    <a:lstStyle/>
                    <a:p>
                      <a:r>
                        <a:rPr lang="en-US" dirty="0"/>
                        <a:t>PFC Pay-as-you-go</a:t>
                      </a:r>
                    </a:p>
                  </a:txBody>
                  <a:tcPr/>
                </a:tc>
                <a:extLst>
                  <a:ext uri="{0D108BD9-81ED-4DB2-BD59-A6C34878D82A}">
                    <a16:rowId xmlns:a16="http://schemas.microsoft.com/office/drawing/2014/main" val="376830447"/>
                  </a:ext>
                </a:extLst>
              </a:tr>
              <a:tr h="370840">
                <a:tc>
                  <a:txBody>
                    <a:bodyPr/>
                    <a:lstStyle/>
                    <a:p>
                      <a:r>
                        <a:rPr lang="en-US" dirty="0"/>
                        <a:t>Checked Baggage Inspection System (CBIS) (Design)</a:t>
                      </a:r>
                      <a:r>
                        <a:rPr lang="en-US" baseline="30000" dirty="0"/>
                        <a:t>/1</a:t>
                      </a:r>
                    </a:p>
                  </a:txBody>
                  <a:tcPr/>
                </a:tc>
                <a:tc>
                  <a:txBody>
                    <a:bodyPr/>
                    <a:lstStyle/>
                    <a:p>
                      <a:r>
                        <a:rPr lang="en-US" dirty="0"/>
                        <a:t> $8,186,240 </a:t>
                      </a:r>
                    </a:p>
                    <a:p>
                      <a:endParaRPr lang="en-US" dirty="0"/>
                    </a:p>
                  </a:txBody>
                  <a:tcPr/>
                </a:tc>
                <a:extLst>
                  <a:ext uri="{0D108BD9-81ED-4DB2-BD59-A6C34878D82A}">
                    <a16:rowId xmlns:a16="http://schemas.microsoft.com/office/drawing/2014/main" val="3871439624"/>
                  </a:ext>
                </a:extLst>
              </a:tr>
              <a:tr h="370840">
                <a:tc>
                  <a:txBody>
                    <a:bodyPr/>
                    <a:lstStyle/>
                    <a:p>
                      <a:r>
                        <a:rPr lang="en-US" dirty="0"/>
                        <a:t>ASE Program - Land Acquisition/Bunkers Reimbursement</a:t>
                      </a:r>
                    </a:p>
                  </a:txBody>
                  <a:tcPr/>
                </a:tc>
                <a:tc>
                  <a:txBody>
                    <a:bodyPr/>
                    <a:lstStyle/>
                    <a:p>
                      <a:r>
                        <a:rPr lang="en-US" dirty="0"/>
                        <a:t> $849,300 </a:t>
                      </a:r>
                    </a:p>
                    <a:p>
                      <a:endParaRPr lang="en-US" dirty="0"/>
                    </a:p>
                  </a:txBody>
                  <a:tcPr/>
                </a:tc>
                <a:extLst>
                  <a:ext uri="{0D108BD9-81ED-4DB2-BD59-A6C34878D82A}">
                    <a16:rowId xmlns:a16="http://schemas.microsoft.com/office/drawing/2014/main" val="1566158585"/>
                  </a:ext>
                </a:extLst>
              </a:tr>
              <a:tr h="370840">
                <a:tc>
                  <a:txBody>
                    <a:bodyPr/>
                    <a:lstStyle/>
                    <a:p>
                      <a:r>
                        <a:rPr lang="en-US" dirty="0"/>
                        <a:t>ASE Program - Runway Construction </a:t>
                      </a:r>
                    </a:p>
                  </a:txBody>
                  <a:tcPr/>
                </a:tc>
                <a:tc>
                  <a:txBody>
                    <a:bodyPr/>
                    <a:lstStyle/>
                    <a:p>
                      <a:r>
                        <a:rPr lang="en-US" dirty="0"/>
                        <a:t> $15,457,033</a:t>
                      </a:r>
                    </a:p>
                  </a:txBody>
                  <a:tcPr/>
                </a:tc>
                <a:extLst>
                  <a:ext uri="{0D108BD9-81ED-4DB2-BD59-A6C34878D82A}">
                    <a16:rowId xmlns:a16="http://schemas.microsoft.com/office/drawing/2014/main" val="1992668623"/>
                  </a:ext>
                </a:extLst>
              </a:tr>
              <a:tr h="370840">
                <a:tc>
                  <a:txBody>
                    <a:bodyPr/>
                    <a:lstStyle/>
                    <a:p>
                      <a:r>
                        <a:rPr lang="en-US" dirty="0"/>
                        <a:t>TOTAL</a:t>
                      </a:r>
                    </a:p>
                  </a:txBody>
                  <a:tcPr/>
                </a:tc>
                <a:tc>
                  <a:txBody>
                    <a:bodyPr/>
                    <a:lstStyle/>
                    <a:p>
                      <a:r>
                        <a:rPr lang="en-US" dirty="0"/>
                        <a:t> $24,492,573</a:t>
                      </a:r>
                    </a:p>
                    <a:p>
                      <a:endParaRPr lang="en-US" dirty="0"/>
                    </a:p>
                  </a:txBody>
                  <a:tcPr/>
                </a:tc>
                <a:extLst>
                  <a:ext uri="{0D108BD9-81ED-4DB2-BD59-A6C34878D82A}">
                    <a16:rowId xmlns:a16="http://schemas.microsoft.com/office/drawing/2014/main" val="697476084"/>
                  </a:ext>
                </a:extLst>
              </a:tr>
            </a:tbl>
          </a:graphicData>
        </a:graphic>
      </p:graphicFrame>
      <p:sp>
        <p:nvSpPr>
          <p:cNvPr id="5" name="TextBox 4">
            <a:extLst>
              <a:ext uri="{FF2B5EF4-FFF2-40B4-BE49-F238E27FC236}">
                <a16:creationId xmlns:a16="http://schemas.microsoft.com/office/drawing/2014/main" id="{28F51CD5-ECFF-CEE9-7BDF-C48F16D77C7C}"/>
              </a:ext>
            </a:extLst>
          </p:cNvPr>
          <p:cNvSpPr txBox="1"/>
          <p:nvPr/>
        </p:nvSpPr>
        <p:spPr>
          <a:xfrm>
            <a:off x="962526" y="5904820"/>
            <a:ext cx="10619874" cy="461665"/>
          </a:xfrm>
          <a:prstGeom prst="rect">
            <a:avLst/>
          </a:prstGeom>
          <a:noFill/>
        </p:spPr>
        <p:txBody>
          <a:bodyPr wrap="square" rtlCol="0">
            <a:spAutoFit/>
          </a:bodyPr>
          <a:lstStyle/>
          <a:p>
            <a:r>
              <a:rPr lang="en-US" sz="1200" dirty="0"/>
              <a:t>/1 The PFC request for Checked Baggage Inspection System (CBIS) (Design) will be on an impose only basis. The Authority will request PFCs on an impose and use basis for the remaining two projects in the application.  </a:t>
            </a:r>
          </a:p>
        </p:txBody>
      </p:sp>
    </p:spTree>
    <p:extLst>
      <p:ext uri="{BB962C8B-B14F-4D97-AF65-F5344CB8AC3E}">
        <p14:creationId xmlns:p14="http://schemas.microsoft.com/office/powerpoint/2010/main" val="208877136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BBD4678-294F-F79B-4955-D43F1D18116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B8DDA0D-33B2-99BA-7A75-32D4791FD897}"/>
              </a:ext>
            </a:extLst>
          </p:cNvPr>
          <p:cNvSpPr>
            <a:spLocks noGrp="1"/>
          </p:cNvSpPr>
          <p:nvPr>
            <p:ph type="title"/>
          </p:nvPr>
        </p:nvSpPr>
        <p:spPr/>
        <p:txBody>
          <a:bodyPr/>
          <a:lstStyle/>
          <a:p>
            <a:r>
              <a:rPr lang="en-US" dirty="0"/>
              <a:t>Opportunity for Public Comment</a:t>
            </a:r>
          </a:p>
        </p:txBody>
      </p:sp>
      <p:sp>
        <p:nvSpPr>
          <p:cNvPr id="4" name="Content Placeholder 3">
            <a:extLst>
              <a:ext uri="{FF2B5EF4-FFF2-40B4-BE49-F238E27FC236}">
                <a16:creationId xmlns:a16="http://schemas.microsoft.com/office/drawing/2014/main" id="{AC394B07-F360-1B2D-A3C5-957C5259F090}"/>
              </a:ext>
            </a:extLst>
          </p:cNvPr>
          <p:cNvSpPr>
            <a:spLocks noGrp="1"/>
          </p:cNvSpPr>
          <p:nvPr>
            <p:ph idx="1"/>
          </p:nvPr>
        </p:nvSpPr>
        <p:spPr>
          <a:xfrm>
            <a:off x="609600" y="1104900"/>
            <a:ext cx="9753600" cy="5446711"/>
          </a:xfrm>
        </p:spPr>
        <p:txBody>
          <a:bodyPr/>
          <a:lstStyle/>
          <a:p>
            <a:pPr>
              <a:tabLst>
                <a:tab pos="457200" algn="l"/>
              </a:tabLst>
            </a:pPr>
            <a:r>
              <a:rPr lang="en-US" dirty="0"/>
              <a:t>In accordance with Section 158.24 of 14 CFR Part 158, these materials constitute the notice of opportunity for public comment on the application and include:</a:t>
            </a:r>
          </a:p>
          <a:p>
            <a:pPr lvl="1">
              <a:tabLst>
                <a:tab pos="457200" algn="l"/>
              </a:tabLst>
            </a:pPr>
            <a:r>
              <a:rPr lang="en-US" dirty="0"/>
              <a:t>PFC level, estimated total PFC revenue to be collected, proposed charge effective date, and estimated charge expiration date</a:t>
            </a:r>
          </a:p>
          <a:p>
            <a:pPr lvl="1">
              <a:tabLst>
                <a:tab pos="457200" algn="l"/>
              </a:tabLst>
            </a:pPr>
            <a:r>
              <a:rPr lang="en-US" dirty="0"/>
              <a:t>Name and contact for the person within the public agency to whom the comments should be sent</a:t>
            </a:r>
          </a:p>
          <a:p>
            <a:pPr lvl="1">
              <a:tabLst>
                <a:tab pos="457200" algn="l"/>
              </a:tabLst>
            </a:pPr>
            <a:r>
              <a:rPr lang="en-US" dirty="0"/>
              <a:t>A description and brief justification of the projects</a:t>
            </a:r>
          </a:p>
          <a:p>
            <a:pPr>
              <a:tabLst>
                <a:tab pos="457200" algn="l"/>
              </a:tabLst>
            </a:pPr>
            <a:r>
              <a:rPr lang="en-US" dirty="0"/>
              <a:t>Public comments may be submitted until July 28, 2025 and should be sent to:</a:t>
            </a:r>
          </a:p>
          <a:p>
            <a:pPr marL="457200" lvl="1" indent="0">
              <a:buNone/>
              <a:tabLst>
                <a:tab pos="457200" algn="l"/>
              </a:tabLst>
            </a:pPr>
            <a:r>
              <a:rPr lang="en-US" dirty="0"/>
              <a:t>	Kim Allison, Vice President, Chief Financial Officer</a:t>
            </a:r>
          </a:p>
          <a:p>
            <a:pPr marL="457200" lvl="1" indent="0">
              <a:buNone/>
              <a:tabLst>
                <a:tab pos="914400" algn="l"/>
              </a:tabLst>
            </a:pPr>
            <a:r>
              <a:rPr lang="en-US" dirty="0"/>
              <a:t>	kallison@flytucson.com</a:t>
            </a:r>
          </a:p>
          <a:p>
            <a:pPr marL="914400" lvl="2" indent="0">
              <a:buNone/>
            </a:pPr>
            <a:endParaRPr lang="en-US" sz="1400" dirty="0"/>
          </a:p>
        </p:txBody>
      </p:sp>
    </p:spTree>
    <p:extLst>
      <p:ext uri="{BB962C8B-B14F-4D97-AF65-F5344CB8AC3E}">
        <p14:creationId xmlns:p14="http://schemas.microsoft.com/office/powerpoint/2010/main" val="241790590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96177B2-3C4F-8AC1-4057-B476EEC2610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E010B3B-18C7-88D0-A77C-0275FEF96580}"/>
              </a:ext>
            </a:extLst>
          </p:cNvPr>
          <p:cNvSpPr>
            <a:spLocks noGrp="1"/>
          </p:cNvSpPr>
          <p:nvPr>
            <p:ph type="title"/>
          </p:nvPr>
        </p:nvSpPr>
        <p:spPr/>
        <p:txBody>
          <a:bodyPr/>
          <a:lstStyle/>
          <a:p>
            <a:r>
              <a:rPr lang="en-US" dirty="0"/>
              <a:t>Proposed PFC Projects</a:t>
            </a:r>
          </a:p>
        </p:txBody>
      </p:sp>
      <p:sp>
        <p:nvSpPr>
          <p:cNvPr id="4" name="TextBox 3">
            <a:extLst>
              <a:ext uri="{FF2B5EF4-FFF2-40B4-BE49-F238E27FC236}">
                <a16:creationId xmlns:a16="http://schemas.microsoft.com/office/drawing/2014/main" id="{0A34EEBB-7927-ABAB-FCA2-323E02D61F4B}"/>
              </a:ext>
            </a:extLst>
          </p:cNvPr>
          <p:cNvSpPr txBox="1"/>
          <p:nvPr/>
        </p:nvSpPr>
        <p:spPr>
          <a:xfrm>
            <a:off x="570156" y="1143387"/>
            <a:ext cx="4598580" cy="646331"/>
          </a:xfrm>
          <a:prstGeom prst="rect">
            <a:avLst/>
          </a:prstGeom>
          <a:noFill/>
        </p:spPr>
        <p:txBody>
          <a:bodyPr wrap="square">
            <a:spAutoFit/>
          </a:bodyPr>
          <a:lstStyle/>
          <a:p>
            <a:r>
              <a:rPr lang="en-US" sz="1800" b="1" dirty="0">
                <a:solidFill>
                  <a:schemeClr val="tx1"/>
                </a:solidFill>
                <a:latin typeface="+mn-lt"/>
                <a:ea typeface="+mj-ea"/>
                <a:cs typeface="+mj-cs"/>
              </a:rPr>
              <a:t>Checked Baggage Inspection System (CBIS) (Design)</a:t>
            </a:r>
            <a:endParaRPr lang="en-US" dirty="0"/>
          </a:p>
        </p:txBody>
      </p:sp>
      <p:sp>
        <p:nvSpPr>
          <p:cNvPr id="6" name="TextBox 5">
            <a:extLst>
              <a:ext uri="{FF2B5EF4-FFF2-40B4-BE49-F238E27FC236}">
                <a16:creationId xmlns:a16="http://schemas.microsoft.com/office/drawing/2014/main" id="{2E464839-3735-7591-0491-8AD1B1EF167F}"/>
              </a:ext>
            </a:extLst>
          </p:cNvPr>
          <p:cNvSpPr txBox="1"/>
          <p:nvPr/>
        </p:nvSpPr>
        <p:spPr>
          <a:xfrm>
            <a:off x="570156" y="1961554"/>
            <a:ext cx="4197927" cy="5232202"/>
          </a:xfrm>
          <a:prstGeom prst="rect">
            <a:avLst/>
          </a:prstGeom>
          <a:noFill/>
        </p:spPr>
        <p:txBody>
          <a:bodyPr wrap="square" rtlCol="0">
            <a:spAutoFit/>
          </a:bodyPr>
          <a:lstStyle/>
          <a:p>
            <a:r>
              <a:rPr lang="en-US" dirty="0">
                <a:solidFill>
                  <a:schemeClr val="accent4"/>
                </a:solidFill>
              </a:rPr>
              <a:t>DESCRIPTION</a:t>
            </a:r>
          </a:p>
          <a:p>
            <a:r>
              <a:rPr lang="en-US" sz="1400" dirty="0">
                <a:solidFill>
                  <a:schemeClr val="dk1"/>
                </a:solidFill>
                <a:latin typeface="+mn-lt"/>
                <a:ea typeface="+mn-ea"/>
                <a:cs typeface="+mn-cs"/>
              </a:rPr>
              <a:t>This project includes design services associated with a new Consolidated Checked Baggage Inspection System (CBIS) and Baggage Handling System (BHS), including Explosive Detection Systems (EDS), at the Airport’s main airline terminal. </a:t>
            </a:r>
          </a:p>
          <a:p>
            <a:r>
              <a:rPr lang="en-US" sz="1400" dirty="0">
                <a:solidFill>
                  <a:schemeClr val="dk1"/>
                </a:solidFill>
                <a:latin typeface="+mn-lt"/>
                <a:ea typeface="+mn-ea"/>
                <a:cs typeface="+mn-cs"/>
              </a:rPr>
              <a:t>The new CBIS and BHS systems will be designed with the future terminal expansion in mind and the need to be integrated into the new terminal and not to hinder any future development plans.  Once complete, the modernization and centralization of the CBIS and BHS systems will increase the overall safety, security, and efficiency of baggage movements at the Tucson International Airport.</a:t>
            </a:r>
          </a:p>
          <a:p>
            <a:endParaRPr lang="en-US" sz="1400" dirty="0"/>
          </a:p>
          <a:p>
            <a:r>
              <a:rPr lang="en-US" dirty="0">
                <a:solidFill>
                  <a:schemeClr val="accent4"/>
                </a:solidFill>
              </a:rPr>
              <a:t>JUSTIFICATION</a:t>
            </a:r>
          </a:p>
          <a:p>
            <a:r>
              <a:rPr lang="en-US" sz="1400" kern="1200" dirty="0">
                <a:solidFill>
                  <a:schemeClr val="dk1"/>
                </a:solidFill>
                <a:latin typeface="+mn-lt"/>
                <a:ea typeface="+mn-ea"/>
                <a:cs typeface="+mn-cs"/>
              </a:rPr>
              <a:t>In 2023, TUS served approximately 3.8M passengers. TUS is presently classified as a small-hub airport; however, traffic trends are leading TUS into medium-hub territory. The project is necessary to enhance capacity at the Airport.</a:t>
            </a:r>
          </a:p>
          <a:p>
            <a:endParaRPr lang="en-US" sz="1400" dirty="0"/>
          </a:p>
          <a:p>
            <a:endParaRPr lang="en-US" dirty="0"/>
          </a:p>
        </p:txBody>
      </p:sp>
      <p:sp>
        <p:nvSpPr>
          <p:cNvPr id="7" name="TextBox 6">
            <a:extLst>
              <a:ext uri="{FF2B5EF4-FFF2-40B4-BE49-F238E27FC236}">
                <a16:creationId xmlns:a16="http://schemas.microsoft.com/office/drawing/2014/main" id="{1FEEFE22-E8A0-58D9-C052-F01D497830C6}"/>
              </a:ext>
            </a:extLst>
          </p:cNvPr>
          <p:cNvSpPr txBox="1"/>
          <p:nvPr/>
        </p:nvSpPr>
        <p:spPr>
          <a:xfrm>
            <a:off x="6248400" y="1143387"/>
            <a:ext cx="4598580" cy="646331"/>
          </a:xfrm>
          <a:prstGeom prst="rect">
            <a:avLst/>
          </a:prstGeom>
          <a:noFill/>
        </p:spPr>
        <p:txBody>
          <a:bodyPr wrap="square">
            <a:spAutoFit/>
          </a:bodyPr>
          <a:lstStyle/>
          <a:p>
            <a:r>
              <a:rPr lang="en-US" sz="1800" b="1" dirty="0">
                <a:solidFill>
                  <a:schemeClr val="tx1"/>
                </a:solidFill>
                <a:latin typeface="+mn-lt"/>
                <a:ea typeface="+mj-ea"/>
                <a:cs typeface="+mj-cs"/>
              </a:rPr>
              <a:t>ASE Program - Land Acquisition/Bunkers Reimbursement</a:t>
            </a:r>
            <a:endParaRPr lang="en-US" dirty="0"/>
          </a:p>
        </p:txBody>
      </p:sp>
      <p:sp>
        <p:nvSpPr>
          <p:cNvPr id="8" name="TextBox 7">
            <a:extLst>
              <a:ext uri="{FF2B5EF4-FFF2-40B4-BE49-F238E27FC236}">
                <a16:creationId xmlns:a16="http://schemas.microsoft.com/office/drawing/2014/main" id="{D676D941-28B1-0FB0-A57F-804ADFD1D469}"/>
              </a:ext>
            </a:extLst>
          </p:cNvPr>
          <p:cNvSpPr txBox="1"/>
          <p:nvPr/>
        </p:nvSpPr>
        <p:spPr>
          <a:xfrm>
            <a:off x="6248400" y="1957950"/>
            <a:ext cx="5105400" cy="2646878"/>
          </a:xfrm>
          <a:prstGeom prst="rect">
            <a:avLst/>
          </a:prstGeom>
          <a:noFill/>
        </p:spPr>
        <p:txBody>
          <a:bodyPr wrap="square" rtlCol="0">
            <a:spAutoFit/>
          </a:bodyPr>
          <a:lstStyle/>
          <a:p>
            <a:r>
              <a:rPr lang="en-US" dirty="0">
                <a:solidFill>
                  <a:schemeClr val="accent4"/>
                </a:solidFill>
              </a:rPr>
              <a:t>DESCRIPTION</a:t>
            </a:r>
          </a:p>
          <a:p>
            <a:r>
              <a:rPr lang="en-US" sz="1400" dirty="0">
                <a:solidFill>
                  <a:schemeClr val="dk1"/>
                </a:solidFill>
                <a:latin typeface="+mn-lt"/>
                <a:ea typeface="+mn-ea"/>
              </a:rPr>
              <a:t>This project involves the acquisition of land in support of the Airport's Airfield Safety Enhancement (ASE) Program. The land being acquired is located in the footprint of the planned commercial parallel runway safety area. </a:t>
            </a:r>
          </a:p>
          <a:p>
            <a:endParaRPr lang="en-US" sz="1400" dirty="0"/>
          </a:p>
          <a:p>
            <a:r>
              <a:rPr lang="en-US" dirty="0">
                <a:solidFill>
                  <a:schemeClr val="accent4"/>
                </a:solidFill>
              </a:rPr>
              <a:t>JUSTIFICATION</a:t>
            </a:r>
          </a:p>
          <a:p>
            <a:r>
              <a:rPr lang="en-US" sz="1400" kern="1200" dirty="0">
                <a:solidFill>
                  <a:schemeClr val="dk1"/>
                </a:solidFill>
                <a:latin typeface="+mn-lt"/>
                <a:ea typeface="+mn-ea"/>
                <a:cs typeface="+mn-cs"/>
              </a:rPr>
              <a:t>The acquisition of land associated with this project is an enabling component of the Airfield Safety Enhancement (ASE) Program, which is necessary to enhance safety at the Airport.</a:t>
            </a:r>
            <a:endParaRPr lang="en-US" sz="1400" dirty="0"/>
          </a:p>
          <a:p>
            <a:endParaRPr lang="en-US" dirty="0"/>
          </a:p>
        </p:txBody>
      </p:sp>
    </p:spTree>
    <p:extLst>
      <p:ext uri="{BB962C8B-B14F-4D97-AF65-F5344CB8AC3E}">
        <p14:creationId xmlns:p14="http://schemas.microsoft.com/office/powerpoint/2010/main" val="408608437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F1DE4D2-0FE9-8294-D0CF-CB560671658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FCDF1ED-783C-A79B-B75A-72B2475EE532}"/>
              </a:ext>
            </a:extLst>
          </p:cNvPr>
          <p:cNvSpPr>
            <a:spLocks noGrp="1"/>
          </p:cNvSpPr>
          <p:nvPr>
            <p:ph type="title"/>
          </p:nvPr>
        </p:nvSpPr>
        <p:spPr/>
        <p:txBody>
          <a:bodyPr/>
          <a:lstStyle/>
          <a:p>
            <a:r>
              <a:rPr lang="en-US" dirty="0"/>
              <a:t>Proposed PFC Projects</a:t>
            </a:r>
          </a:p>
        </p:txBody>
      </p:sp>
      <p:sp>
        <p:nvSpPr>
          <p:cNvPr id="4" name="TextBox 3">
            <a:extLst>
              <a:ext uri="{FF2B5EF4-FFF2-40B4-BE49-F238E27FC236}">
                <a16:creationId xmlns:a16="http://schemas.microsoft.com/office/drawing/2014/main" id="{6CA35D64-06D0-2B8D-EDF6-AF06635FCE9C}"/>
              </a:ext>
            </a:extLst>
          </p:cNvPr>
          <p:cNvSpPr txBox="1"/>
          <p:nvPr/>
        </p:nvSpPr>
        <p:spPr>
          <a:xfrm>
            <a:off x="570156" y="1143387"/>
            <a:ext cx="4598580" cy="369332"/>
          </a:xfrm>
          <a:prstGeom prst="rect">
            <a:avLst/>
          </a:prstGeom>
          <a:noFill/>
        </p:spPr>
        <p:txBody>
          <a:bodyPr wrap="square">
            <a:spAutoFit/>
          </a:bodyPr>
          <a:lstStyle/>
          <a:p>
            <a:r>
              <a:rPr lang="en-US" sz="1800" b="1" dirty="0">
                <a:solidFill>
                  <a:schemeClr val="tx1"/>
                </a:solidFill>
                <a:latin typeface="+mn-lt"/>
                <a:ea typeface="+mj-ea"/>
                <a:cs typeface="+mj-cs"/>
              </a:rPr>
              <a:t>ASE Program - Runway Construction</a:t>
            </a:r>
            <a:endParaRPr lang="en-US" dirty="0"/>
          </a:p>
        </p:txBody>
      </p:sp>
      <p:sp>
        <p:nvSpPr>
          <p:cNvPr id="6" name="TextBox 5">
            <a:extLst>
              <a:ext uri="{FF2B5EF4-FFF2-40B4-BE49-F238E27FC236}">
                <a16:creationId xmlns:a16="http://schemas.microsoft.com/office/drawing/2014/main" id="{EA7F0406-CC9E-0550-9C61-D16F3E9F2834}"/>
              </a:ext>
            </a:extLst>
          </p:cNvPr>
          <p:cNvSpPr txBox="1"/>
          <p:nvPr/>
        </p:nvSpPr>
        <p:spPr>
          <a:xfrm>
            <a:off x="602240" y="1684555"/>
            <a:ext cx="4197927" cy="5016758"/>
          </a:xfrm>
          <a:prstGeom prst="rect">
            <a:avLst/>
          </a:prstGeom>
          <a:noFill/>
        </p:spPr>
        <p:txBody>
          <a:bodyPr wrap="square" rtlCol="0">
            <a:spAutoFit/>
          </a:bodyPr>
          <a:lstStyle/>
          <a:p>
            <a:r>
              <a:rPr lang="en-US" dirty="0">
                <a:solidFill>
                  <a:schemeClr val="accent4"/>
                </a:solidFill>
              </a:rPr>
              <a:t>DESCRIPTION</a:t>
            </a:r>
          </a:p>
          <a:p>
            <a:r>
              <a:rPr lang="en-US" sz="1400" dirty="0">
                <a:solidFill>
                  <a:schemeClr val="dk1"/>
                </a:solidFill>
                <a:latin typeface="+mn-lt"/>
                <a:ea typeface="+mn-ea"/>
                <a:cs typeface="+mn-cs"/>
              </a:rPr>
              <a:t>Tucson International Airport’s Airfield Safety Enhancement Program (ASE Program) is a multi-year phased project involving construction of new parallel commercial Runway 12R/30L.  The completed runway will be constructed of concrete and will be approximately 11,000 feet by 150 feet with 25-foot asphalt shoulders on each side.  This project includes the Runway Construction portion of the ASE Program, involving (1) construction of the cement treated base and the mobilization of the concrete batch plant, (2) the construction of concrete pavement section for the new runway, including conduit and fencing work, and (3) construction of shoulders and installation of lighting (including regulators), signage, and marking for the new runway.</a:t>
            </a:r>
          </a:p>
          <a:p>
            <a:endParaRPr lang="en-US" sz="1400" dirty="0"/>
          </a:p>
          <a:p>
            <a:r>
              <a:rPr lang="en-US" dirty="0">
                <a:solidFill>
                  <a:schemeClr val="accent4"/>
                </a:solidFill>
              </a:rPr>
              <a:t>JUSTIFICATION</a:t>
            </a:r>
          </a:p>
          <a:p>
            <a:r>
              <a:rPr lang="en-US" sz="1400" kern="1200" dirty="0">
                <a:solidFill>
                  <a:schemeClr val="dk1"/>
                </a:solidFill>
                <a:latin typeface="+mn-lt"/>
                <a:ea typeface="+mn-ea"/>
                <a:cs typeface="+mn-cs"/>
              </a:rPr>
              <a:t>The Airfield Safety Enhancement (ASE) Program is necessary to enhance safety at the Airport.</a:t>
            </a:r>
          </a:p>
          <a:p>
            <a:endParaRPr lang="en-US" sz="1400" dirty="0"/>
          </a:p>
          <a:p>
            <a:endParaRPr lang="en-US" dirty="0"/>
          </a:p>
        </p:txBody>
      </p:sp>
      <p:pic>
        <p:nvPicPr>
          <p:cNvPr id="10" name="Picture 9">
            <a:extLst>
              <a:ext uri="{FF2B5EF4-FFF2-40B4-BE49-F238E27FC236}">
                <a16:creationId xmlns:a16="http://schemas.microsoft.com/office/drawing/2014/main" id="{2D5D5F26-F90B-C1C5-02E6-79A2696F3242}"/>
              </a:ext>
            </a:extLst>
          </p:cNvPr>
          <p:cNvPicPr>
            <a:picLocks noChangeAspect="1"/>
          </p:cNvPicPr>
          <p:nvPr/>
        </p:nvPicPr>
        <p:blipFill>
          <a:blip r:embed="rId2"/>
          <a:srcRect l="9375" t="19999" r="51875" b="10001"/>
          <a:stretch>
            <a:fillRect/>
          </a:stretch>
        </p:blipFill>
        <p:spPr>
          <a:xfrm>
            <a:off x="4792146" y="1684555"/>
            <a:ext cx="7202492" cy="4065923"/>
          </a:xfrm>
          <a:prstGeom prst="rect">
            <a:avLst/>
          </a:prstGeom>
        </p:spPr>
      </p:pic>
    </p:spTree>
    <p:extLst>
      <p:ext uri="{BB962C8B-B14F-4D97-AF65-F5344CB8AC3E}">
        <p14:creationId xmlns:p14="http://schemas.microsoft.com/office/powerpoint/2010/main" val="92607846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73475</TotalTime>
  <Words>696</Words>
  <Application>Microsoft Office PowerPoint</Application>
  <PresentationFormat>Widescreen</PresentationFormat>
  <Paragraphs>51</Paragraphs>
  <Slides>5</Slides>
  <Notes>1</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5</vt:i4>
      </vt:variant>
    </vt:vector>
  </HeadingPairs>
  <TitlesOfParts>
    <vt:vector size="14" baseType="lpstr">
      <vt:lpstr>Arial</vt:lpstr>
      <vt:lpstr>Calibri</vt:lpstr>
      <vt:lpstr>Courier New</vt:lpstr>
      <vt:lpstr>Open Sans</vt:lpstr>
      <vt:lpstr>Open Sans Semibold</vt:lpstr>
      <vt:lpstr>Wingdings</vt:lpstr>
      <vt:lpstr>Wingdings 3</vt:lpstr>
      <vt:lpstr>Office Theme</vt:lpstr>
      <vt:lpstr>think-cell Slide</vt:lpstr>
      <vt:lpstr>PowerPoint Presentation</vt:lpstr>
      <vt:lpstr>Overview</vt:lpstr>
      <vt:lpstr>Opportunity for Public Comment</vt:lpstr>
      <vt:lpstr>Proposed PFC Projects</vt:lpstr>
      <vt:lpstr>Proposed PFC Project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Adam Whiteman</dc:creator>
  <cp:lastModifiedBy>Laura Parry</cp:lastModifiedBy>
  <cp:revision>1932</cp:revision>
  <cp:lastPrinted>2020-02-07T21:54:35Z</cp:lastPrinted>
  <dcterms:created xsi:type="dcterms:W3CDTF">2013-08-15T12:20:42Z</dcterms:created>
  <dcterms:modified xsi:type="dcterms:W3CDTF">2025-06-26T14:22:10Z</dcterms:modified>
</cp:coreProperties>
</file>